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9"/>
  </p:notesMasterIdLst>
  <p:sldIdLst>
    <p:sldId id="295" r:id="rId5"/>
    <p:sldId id="297" r:id="rId6"/>
    <p:sldId id="298" r:id="rId7"/>
    <p:sldId id="299" r:id="rId8"/>
  </p:sldIdLst>
  <p:sldSz cx="18000663" cy="10260013"/>
  <p:notesSz cx="6858000" cy="9144000"/>
  <p:custDataLst>
    <p:tags r:id="rId10"/>
  </p:custDataLst>
  <p:defaultTextStyle>
    <a:defPPr>
      <a:defRPr lang="en-US"/>
    </a:defPPr>
    <a:lvl1pPr marL="0" algn="l" defTabSz="1356348" rtl="0" eaLnBrk="1" latinLnBrk="0" hangingPunct="1">
      <a:defRPr sz="2670" kern="1200">
        <a:solidFill>
          <a:schemeClr val="tx1"/>
        </a:solidFill>
        <a:latin typeface="+mn-lt"/>
        <a:ea typeface="+mn-ea"/>
        <a:cs typeface="+mn-cs"/>
      </a:defRPr>
    </a:lvl1pPr>
    <a:lvl2pPr marL="678175" algn="l" defTabSz="1356348" rtl="0" eaLnBrk="1" latinLnBrk="0" hangingPunct="1">
      <a:defRPr sz="2670" kern="1200">
        <a:solidFill>
          <a:schemeClr val="tx1"/>
        </a:solidFill>
        <a:latin typeface="+mn-lt"/>
        <a:ea typeface="+mn-ea"/>
        <a:cs typeface="+mn-cs"/>
      </a:defRPr>
    </a:lvl2pPr>
    <a:lvl3pPr marL="1356348" algn="l" defTabSz="1356348" rtl="0" eaLnBrk="1" latinLnBrk="0" hangingPunct="1">
      <a:defRPr sz="2670" kern="1200">
        <a:solidFill>
          <a:schemeClr val="tx1"/>
        </a:solidFill>
        <a:latin typeface="+mn-lt"/>
        <a:ea typeface="+mn-ea"/>
        <a:cs typeface="+mn-cs"/>
      </a:defRPr>
    </a:lvl3pPr>
    <a:lvl4pPr marL="2034522" algn="l" defTabSz="1356348" rtl="0" eaLnBrk="1" latinLnBrk="0" hangingPunct="1">
      <a:defRPr sz="2670" kern="1200">
        <a:solidFill>
          <a:schemeClr val="tx1"/>
        </a:solidFill>
        <a:latin typeface="+mn-lt"/>
        <a:ea typeface="+mn-ea"/>
        <a:cs typeface="+mn-cs"/>
      </a:defRPr>
    </a:lvl4pPr>
    <a:lvl5pPr marL="2712697" algn="l" defTabSz="1356348" rtl="0" eaLnBrk="1" latinLnBrk="0" hangingPunct="1">
      <a:defRPr sz="2670" kern="1200">
        <a:solidFill>
          <a:schemeClr val="tx1"/>
        </a:solidFill>
        <a:latin typeface="+mn-lt"/>
        <a:ea typeface="+mn-ea"/>
        <a:cs typeface="+mn-cs"/>
      </a:defRPr>
    </a:lvl5pPr>
    <a:lvl6pPr marL="3390870" algn="l" defTabSz="1356348" rtl="0" eaLnBrk="1" latinLnBrk="0" hangingPunct="1">
      <a:defRPr sz="2670" kern="1200">
        <a:solidFill>
          <a:schemeClr val="tx1"/>
        </a:solidFill>
        <a:latin typeface="+mn-lt"/>
        <a:ea typeface="+mn-ea"/>
        <a:cs typeface="+mn-cs"/>
      </a:defRPr>
    </a:lvl6pPr>
    <a:lvl7pPr marL="4069045" algn="l" defTabSz="1356348" rtl="0" eaLnBrk="1" latinLnBrk="0" hangingPunct="1">
      <a:defRPr sz="2670" kern="1200">
        <a:solidFill>
          <a:schemeClr val="tx1"/>
        </a:solidFill>
        <a:latin typeface="+mn-lt"/>
        <a:ea typeface="+mn-ea"/>
        <a:cs typeface="+mn-cs"/>
      </a:defRPr>
    </a:lvl7pPr>
    <a:lvl8pPr marL="4747218" algn="l" defTabSz="1356348" rtl="0" eaLnBrk="1" latinLnBrk="0" hangingPunct="1">
      <a:defRPr sz="2670" kern="1200">
        <a:solidFill>
          <a:schemeClr val="tx1"/>
        </a:solidFill>
        <a:latin typeface="+mn-lt"/>
        <a:ea typeface="+mn-ea"/>
        <a:cs typeface="+mn-cs"/>
      </a:defRPr>
    </a:lvl8pPr>
    <a:lvl9pPr marL="5425394" algn="l" defTabSz="1356348" rtl="0" eaLnBrk="1" latinLnBrk="0" hangingPunct="1">
      <a:defRPr sz="267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09" userDrawn="1">
          <p15:clr>
            <a:srgbClr val="A4A3A4"/>
          </p15:clr>
        </p15:guide>
        <p15:guide id="2" pos="564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0000"/>
    <a:srgbClr val="009F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8" d="100"/>
          <a:sy n="48" d="100"/>
        </p:scale>
        <p:origin x="1061" y="58"/>
      </p:cViewPr>
      <p:guideLst>
        <p:guide orient="horz" pos="3209"/>
        <p:guide pos="564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ine Smout" userId="3153cd80-1eee-4546-abae-f15e9d00b721" providerId="ADAL" clId="{2BA2CF51-6958-4872-A9D5-1E49D012CF6A}"/>
    <pc:docChg chg="undo custSel modSld">
      <pc:chgData name="Pauline Smout" userId="3153cd80-1eee-4546-abae-f15e9d00b721" providerId="ADAL" clId="{2BA2CF51-6958-4872-A9D5-1E49D012CF6A}" dt="2023-02-23T11:50:26.306" v="1024" actId="13926"/>
      <pc:docMkLst>
        <pc:docMk/>
      </pc:docMkLst>
      <pc:sldChg chg="modSp mod">
        <pc:chgData name="Pauline Smout" userId="3153cd80-1eee-4546-abae-f15e9d00b721" providerId="ADAL" clId="{2BA2CF51-6958-4872-A9D5-1E49D012CF6A}" dt="2023-02-10T18:58:09.021" v="736" actId="14100"/>
        <pc:sldMkLst>
          <pc:docMk/>
          <pc:sldMk cId="2464049271" sldId="295"/>
        </pc:sldMkLst>
        <pc:spChg chg="mod">
          <ac:chgData name="Pauline Smout" userId="3153cd80-1eee-4546-abae-f15e9d00b721" providerId="ADAL" clId="{2BA2CF51-6958-4872-A9D5-1E49D012CF6A}" dt="2023-02-10T18:58:00.309" v="734" actId="1035"/>
          <ac:spMkLst>
            <pc:docMk/>
            <pc:sldMk cId="2464049271" sldId="295"/>
            <ac:spMk id="3" creationId="{8EDECE36-CF72-E157-044B-C22517EF5C91}"/>
          </ac:spMkLst>
        </pc:spChg>
        <pc:spChg chg="mod">
          <ac:chgData name="Pauline Smout" userId="3153cd80-1eee-4546-abae-f15e9d00b721" providerId="ADAL" clId="{2BA2CF51-6958-4872-A9D5-1E49D012CF6A}" dt="2023-02-10T18:58:00.309" v="734" actId="1035"/>
          <ac:spMkLst>
            <pc:docMk/>
            <pc:sldMk cId="2464049271" sldId="295"/>
            <ac:spMk id="5" creationId="{AE65E11B-E400-D9F2-10F7-8A4C6F125520}"/>
          </ac:spMkLst>
        </pc:spChg>
        <pc:spChg chg="mod">
          <ac:chgData name="Pauline Smout" userId="3153cd80-1eee-4546-abae-f15e9d00b721" providerId="ADAL" clId="{2BA2CF51-6958-4872-A9D5-1E49D012CF6A}" dt="2023-02-10T18:58:09.021" v="736" actId="14100"/>
          <ac:spMkLst>
            <pc:docMk/>
            <pc:sldMk cId="2464049271" sldId="295"/>
            <ac:spMk id="6" creationId="{736F972D-5E48-9564-BF7C-13EBC47A933E}"/>
          </ac:spMkLst>
        </pc:spChg>
        <pc:spChg chg="mod">
          <ac:chgData name="Pauline Smout" userId="3153cd80-1eee-4546-abae-f15e9d00b721" providerId="ADAL" clId="{2BA2CF51-6958-4872-A9D5-1E49D012CF6A}" dt="2023-02-10T18:58:09.021" v="736" actId="14100"/>
          <ac:spMkLst>
            <pc:docMk/>
            <pc:sldMk cId="2464049271" sldId="295"/>
            <ac:spMk id="7" creationId="{859C7CCB-94EA-A3D7-5555-D83ACEC1656F}"/>
          </ac:spMkLst>
        </pc:spChg>
      </pc:sldChg>
      <pc:sldChg chg="addSp delSp modSp mod">
        <pc:chgData name="Pauline Smout" userId="3153cd80-1eee-4546-abae-f15e9d00b721" providerId="ADAL" clId="{2BA2CF51-6958-4872-A9D5-1E49D012CF6A}" dt="2023-02-23T11:50:26.306" v="1024" actId="13926"/>
        <pc:sldMkLst>
          <pc:docMk/>
          <pc:sldMk cId="762717214" sldId="297"/>
        </pc:sldMkLst>
        <pc:spChg chg="mod">
          <ac:chgData name="Pauline Smout" userId="3153cd80-1eee-4546-abae-f15e9d00b721" providerId="ADAL" clId="{2BA2CF51-6958-4872-A9D5-1E49D012CF6A}" dt="2023-02-10T19:03:19.486" v="886" actId="14100"/>
          <ac:spMkLst>
            <pc:docMk/>
            <pc:sldMk cId="762717214" sldId="297"/>
            <ac:spMk id="9" creationId="{0174FB02-E08E-4BD2-693A-44024639E0D3}"/>
          </ac:spMkLst>
        </pc:spChg>
        <pc:spChg chg="mod">
          <ac:chgData name="Pauline Smout" userId="3153cd80-1eee-4546-abae-f15e9d00b721" providerId="ADAL" clId="{2BA2CF51-6958-4872-A9D5-1E49D012CF6A}" dt="2023-02-10T19:03:19.486" v="886" actId="14100"/>
          <ac:spMkLst>
            <pc:docMk/>
            <pc:sldMk cId="762717214" sldId="297"/>
            <ac:spMk id="10" creationId="{4326A01A-8B07-09C3-94B1-A4E65EC56963}"/>
          </ac:spMkLst>
        </pc:spChg>
        <pc:spChg chg="mod">
          <ac:chgData name="Pauline Smout" userId="3153cd80-1eee-4546-abae-f15e9d00b721" providerId="ADAL" clId="{2BA2CF51-6958-4872-A9D5-1E49D012CF6A}" dt="2023-02-10T19:03:28.633" v="887" actId="1076"/>
          <ac:spMkLst>
            <pc:docMk/>
            <pc:sldMk cId="762717214" sldId="297"/>
            <ac:spMk id="11" creationId="{16FAB1AA-B564-5F5E-D710-D3A43ABDB11D}"/>
          </ac:spMkLst>
        </pc:spChg>
        <pc:spChg chg="mod">
          <ac:chgData name="Pauline Smout" userId="3153cd80-1eee-4546-abae-f15e9d00b721" providerId="ADAL" clId="{2BA2CF51-6958-4872-A9D5-1E49D012CF6A}" dt="2023-02-10T19:03:28.633" v="887" actId="1076"/>
          <ac:spMkLst>
            <pc:docMk/>
            <pc:sldMk cId="762717214" sldId="297"/>
            <ac:spMk id="12" creationId="{CE3ADC8B-AC7B-50C2-D665-B1E425045288}"/>
          </ac:spMkLst>
        </pc:spChg>
        <pc:spChg chg="add del mod">
          <ac:chgData name="Pauline Smout" userId="3153cd80-1eee-4546-abae-f15e9d00b721" providerId="ADAL" clId="{2BA2CF51-6958-4872-A9D5-1E49D012CF6A}" dt="2023-02-10T19:02:53.909" v="882" actId="478"/>
          <ac:spMkLst>
            <pc:docMk/>
            <pc:sldMk cId="762717214" sldId="297"/>
            <ac:spMk id="13" creationId="{3BC692DE-97AC-C458-05EA-F6357CA4AFDF}"/>
          </ac:spMkLst>
        </pc:spChg>
        <pc:spChg chg="add del mod">
          <ac:chgData name="Pauline Smout" userId="3153cd80-1eee-4546-abae-f15e9d00b721" providerId="ADAL" clId="{2BA2CF51-6958-4872-A9D5-1E49D012CF6A}" dt="2023-02-10T19:02:53.909" v="882" actId="478"/>
          <ac:spMkLst>
            <pc:docMk/>
            <pc:sldMk cId="762717214" sldId="297"/>
            <ac:spMk id="14" creationId="{0830F8A5-BE98-A769-6104-6C7530D4F3B7}"/>
          </ac:spMkLst>
        </pc:spChg>
        <pc:spChg chg="add del mod">
          <ac:chgData name="Pauline Smout" userId="3153cd80-1eee-4546-abae-f15e9d00b721" providerId="ADAL" clId="{2BA2CF51-6958-4872-A9D5-1E49D012CF6A}" dt="2023-02-10T19:02:53.909" v="882" actId="478"/>
          <ac:spMkLst>
            <pc:docMk/>
            <pc:sldMk cId="762717214" sldId="297"/>
            <ac:spMk id="15" creationId="{13FF6AC5-09E6-17CF-8613-368F684C0549}"/>
          </ac:spMkLst>
        </pc:spChg>
        <pc:spChg chg="add del mod">
          <ac:chgData name="Pauline Smout" userId="3153cd80-1eee-4546-abae-f15e9d00b721" providerId="ADAL" clId="{2BA2CF51-6958-4872-A9D5-1E49D012CF6A}" dt="2023-02-10T19:02:53.909" v="882" actId="478"/>
          <ac:spMkLst>
            <pc:docMk/>
            <pc:sldMk cId="762717214" sldId="297"/>
            <ac:spMk id="16" creationId="{13000570-7088-1B21-E313-B269C9D01800}"/>
          </ac:spMkLst>
        </pc:spChg>
        <pc:spChg chg="add del mod">
          <ac:chgData name="Pauline Smout" userId="3153cd80-1eee-4546-abae-f15e9d00b721" providerId="ADAL" clId="{2BA2CF51-6958-4872-A9D5-1E49D012CF6A}" dt="2023-02-10T19:02:53.909" v="882" actId="478"/>
          <ac:spMkLst>
            <pc:docMk/>
            <pc:sldMk cId="762717214" sldId="297"/>
            <ac:spMk id="20" creationId="{B68F9A54-42A4-EDE4-36EF-60F56F11B4F4}"/>
          </ac:spMkLst>
        </pc:spChg>
        <pc:spChg chg="add del mod">
          <ac:chgData name="Pauline Smout" userId="3153cd80-1eee-4546-abae-f15e9d00b721" providerId="ADAL" clId="{2BA2CF51-6958-4872-A9D5-1E49D012CF6A}" dt="2023-02-10T19:02:53.909" v="882" actId="478"/>
          <ac:spMkLst>
            <pc:docMk/>
            <pc:sldMk cId="762717214" sldId="297"/>
            <ac:spMk id="21" creationId="{7A6FB3D8-DBF1-7116-3DA4-3A7F1553B9E9}"/>
          </ac:spMkLst>
        </pc:spChg>
        <pc:spChg chg="add del mod">
          <ac:chgData name="Pauline Smout" userId="3153cd80-1eee-4546-abae-f15e9d00b721" providerId="ADAL" clId="{2BA2CF51-6958-4872-A9D5-1E49D012CF6A}" dt="2023-02-10T19:02:53.909" v="882" actId="478"/>
          <ac:spMkLst>
            <pc:docMk/>
            <pc:sldMk cId="762717214" sldId="297"/>
            <ac:spMk id="22" creationId="{5AF0492D-889E-A1DE-5487-3A36F28B2AD1}"/>
          </ac:spMkLst>
        </pc:spChg>
        <pc:spChg chg="add del mod">
          <ac:chgData name="Pauline Smout" userId="3153cd80-1eee-4546-abae-f15e9d00b721" providerId="ADAL" clId="{2BA2CF51-6958-4872-A9D5-1E49D012CF6A}" dt="2023-02-10T19:02:53.909" v="882" actId="478"/>
          <ac:spMkLst>
            <pc:docMk/>
            <pc:sldMk cId="762717214" sldId="297"/>
            <ac:spMk id="23" creationId="{4C61C8D0-43B3-B514-4D3F-24AEC5476121}"/>
          </ac:spMkLst>
        </pc:spChg>
        <pc:spChg chg="add mod">
          <ac:chgData name="Pauline Smout" userId="3153cd80-1eee-4546-abae-f15e9d00b721" providerId="ADAL" clId="{2BA2CF51-6958-4872-A9D5-1E49D012CF6A}" dt="2023-02-10T19:06:45.563" v="999" actId="1038"/>
          <ac:spMkLst>
            <pc:docMk/>
            <pc:sldMk cId="762717214" sldId="297"/>
            <ac:spMk id="24" creationId="{13E18D9F-40B8-2D99-E065-4DFA3C53C6E8}"/>
          </ac:spMkLst>
        </pc:spChg>
        <pc:spChg chg="add mod">
          <ac:chgData name="Pauline Smout" userId="3153cd80-1eee-4546-abae-f15e9d00b721" providerId="ADAL" clId="{2BA2CF51-6958-4872-A9D5-1E49D012CF6A}" dt="2023-02-10T19:06:45.563" v="999" actId="1038"/>
          <ac:spMkLst>
            <pc:docMk/>
            <pc:sldMk cId="762717214" sldId="297"/>
            <ac:spMk id="25" creationId="{F8B30126-35FF-899F-04FD-98734F02406A}"/>
          </ac:spMkLst>
        </pc:spChg>
        <pc:spChg chg="add del mod">
          <ac:chgData name="Pauline Smout" userId="3153cd80-1eee-4546-abae-f15e9d00b721" providerId="ADAL" clId="{2BA2CF51-6958-4872-A9D5-1E49D012CF6A}" dt="2023-02-10T19:01:31.998" v="862" actId="478"/>
          <ac:spMkLst>
            <pc:docMk/>
            <pc:sldMk cId="762717214" sldId="297"/>
            <ac:spMk id="26" creationId="{45300872-7A3C-D442-67B6-9D6C76731710}"/>
          </ac:spMkLst>
        </pc:spChg>
        <pc:spChg chg="mod">
          <ac:chgData name="Pauline Smout" userId="3153cd80-1eee-4546-abae-f15e9d00b721" providerId="ADAL" clId="{2BA2CF51-6958-4872-A9D5-1E49D012CF6A}" dt="2023-02-10T19:01:21.076" v="860" actId="108"/>
          <ac:spMkLst>
            <pc:docMk/>
            <pc:sldMk cId="762717214" sldId="297"/>
            <ac:spMk id="57" creationId="{C0F3EBCE-FDCA-695A-997E-8EA73617A63D}"/>
          </ac:spMkLst>
        </pc:spChg>
        <pc:spChg chg="mod">
          <ac:chgData name="Pauline Smout" userId="3153cd80-1eee-4546-abae-f15e9d00b721" providerId="ADAL" clId="{2BA2CF51-6958-4872-A9D5-1E49D012CF6A}" dt="2023-02-10T19:01:13.236" v="858" actId="108"/>
          <ac:spMkLst>
            <pc:docMk/>
            <pc:sldMk cId="762717214" sldId="297"/>
            <ac:spMk id="58" creationId="{D40422C3-F0EC-575D-1C98-D41794B20917}"/>
          </ac:spMkLst>
        </pc:spChg>
        <pc:spChg chg="mod">
          <ac:chgData name="Pauline Smout" userId="3153cd80-1eee-4546-abae-f15e9d00b721" providerId="ADAL" clId="{2BA2CF51-6958-4872-A9D5-1E49D012CF6A}" dt="2023-02-10T19:01:44.027" v="864" actId="108"/>
          <ac:spMkLst>
            <pc:docMk/>
            <pc:sldMk cId="762717214" sldId="297"/>
            <ac:spMk id="73" creationId="{65A327EA-1507-5CD2-DA5B-3D7F76DE3648}"/>
          </ac:spMkLst>
        </pc:spChg>
        <pc:spChg chg="mod">
          <ac:chgData name="Pauline Smout" userId="3153cd80-1eee-4546-abae-f15e9d00b721" providerId="ADAL" clId="{2BA2CF51-6958-4872-A9D5-1E49D012CF6A}" dt="2023-02-23T11:44:28.460" v="1023" actId="20577"/>
          <ac:spMkLst>
            <pc:docMk/>
            <pc:sldMk cId="762717214" sldId="297"/>
            <ac:spMk id="74" creationId="{331A0460-F050-58C0-7DDD-25735C1B0E47}"/>
          </ac:spMkLst>
        </pc:spChg>
        <pc:spChg chg="mod">
          <ac:chgData name="Pauline Smout" userId="3153cd80-1eee-4546-abae-f15e9d00b721" providerId="ADAL" clId="{2BA2CF51-6958-4872-A9D5-1E49D012CF6A}" dt="2023-02-10T19:01:08.101" v="857" actId="108"/>
          <ac:spMkLst>
            <pc:docMk/>
            <pc:sldMk cId="762717214" sldId="297"/>
            <ac:spMk id="77" creationId="{F9A12F4A-91FA-C745-230C-2F169268255F}"/>
          </ac:spMkLst>
        </pc:spChg>
        <pc:spChg chg="mod">
          <ac:chgData name="Pauline Smout" userId="3153cd80-1eee-4546-abae-f15e9d00b721" providerId="ADAL" clId="{2BA2CF51-6958-4872-A9D5-1E49D012CF6A}" dt="2023-02-16T16:21:05.135" v="1002" actId="14100"/>
          <ac:spMkLst>
            <pc:docMk/>
            <pc:sldMk cId="762717214" sldId="297"/>
            <ac:spMk id="80" creationId="{51ADA9C7-C3F3-D47F-F63C-9AA0ABA71631}"/>
          </ac:spMkLst>
        </pc:spChg>
        <pc:spChg chg="mod">
          <ac:chgData name="Pauline Smout" userId="3153cd80-1eee-4546-abae-f15e9d00b721" providerId="ADAL" clId="{2BA2CF51-6958-4872-A9D5-1E49D012CF6A}" dt="2023-02-10T19:02:05.897" v="869" actId="108"/>
          <ac:spMkLst>
            <pc:docMk/>
            <pc:sldMk cId="762717214" sldId="297"/>
            <ac:spMk id="89" creationId="{C571B0C6-D9DC-37C5-41A0-4527257A999D}"/>
          </ac:spMkLst>
        </pc:spChg>
        <pc:spChg chg="mod">
          <ac:chgData name="Pauline Smout" userId="3153cd80-1eee-4546-abae-f15e9d00b721" providerId="ADAL" clId="{2BA2CF51-6958-4872-A9D5-1E49D012CF6A}" dt="2023-02-23T11:44:07.598" v="1022" actId="20577"/>
          <ac:spMkLst>
            <pc:docMk/>
            <pc:sldMk cId="762717214" sldId="297"/>
            <ac:spMk id="90" creationId="{4140A5B8-2B2F-65FC-3B7F-B3AAFECF95FA}"/>
          </ac:spMkLst>
        </pc:spChg>
        <pc:spChg chg="mod">
          <ac:chgData name="Pauline Smout" userId="3153cd80-1eee-4546-abae-f15e9d00b721" providerId="ADAL" clId="{2BA2CF51-6958-4872-A9D5-1E49D012CF6A}" dt="2023-02-10T19:01:27.880" v="861" actId="108"/>
          <ac:spMkLst>
            <pc:docMk/>
            <pc:sldMk cId="762717214" sldId="297"/>
            <ac:spMk id="91" creationId="{E9854C9D-B469-46E7-1E91-907C629520F2}"/>
          </ac:spMkLst>
        </pc:spChg>
        <pc:spChg chg="mod">
          <ac:chgData name="Pauline Smout" userId="3153cd80-1eee-4546-abae-f15e9d00b721" providerId="ADAL" clId="{2BA2CF51-6958-4872-A9D5-1E49D012CF6A}" dt="2023-02-10T19:02:49.254" v="881" actId="108"/>
          <ac:spMkLst>
            <pc:docMk/>
            <pc:sldMk cId="762717214" sldId="297"/>
            <ac:spMk id="92" creationId="{A6F18743-4D2C-32E2-1A82-B855F54053F7}"/>
          </ac:spMkLst>
        </pc:spChg>
        <pc:spChg chg="mod">
          <ac:chgData name="Pauline Smout" userId="3153cd80-1eee-4546-abae-f15e9d00b721" providerId="ADAL" clId="{2BA2CF51-6958-4872-A9D5-1E49D012CF6A}" dt="2023-02-10T19:02:47.089" v="880" actId="108"/>
          <ac:spMkLst>
            <pc:docMk/>
            <pc:sldMk cId="762717214" sldId="297"/>
            <ac:spMk id="93" creationId="{B1D8DA60-B325-5D37-14FE-AC932541CD22}"/>
          </ac:spMkLst>
        </pc:spChg>
        <pc:spChg chg="mod">
          <ac:chgData name="Pauline Smout" userId="3153cd80-1eee-4546-abae-f15e9d00b721" providerId="ADAL" clId="{2BA2CF51-6958-4872-A9D5-1E49D012CF6A}" dt="2023-02-10T19:02:24.714" v="874" actId="108"/>
          <ac:spMkLst>
            <pc:docMk/>
            <pc:sldMk cId="762717214" sldId="297"/>
            <ac:spMk id="94" creationId="{DEC13FBB-7807-D8DE-C3FA-CA6B2F528CD1}"/>
          </ac:spMkLst>
        </pc:spChg>
        <pc:spChg chg="mod">
          <ac:chgData name="Pauline Smout" userId="3153cd80-1eee-4546-abae-f15e9d00b721" providerId="ADAL" clId="{2BA2CF51-6958-4872-A9D5-1E49D012CF6A}" dt="2023-02-10T19:02:27.032" v="875" actId="108"/>
          <ac:spMkLst>
            <pc:docMk/>
            <pc:sldMk cId="762717214" sldId="297"/>
            <ac:spMk id="95" creationId="{54C0F31D-8D77-DE06-99D6-6E8FA805DD59}"/>
          </ac:spMkLst>
        </pc:spChg>
        <pc:spChg chg="mod">
          <ac:chgData name="Pauline Smout" userId="3153cd80-1eee-4546-abae-f15e9d00b721" providerId="ADAL" clId="{2BA2CF51-6958-4872-A9D5-1E49D012CF6A}" dt="2023-02-10T19:03:36.448" v="889" actId="14100"/>
          <ac:spMkLst>
            <pc:docMk/>
            <pc:sldMk cId="762717214" sldId="297"/>
            <ac:spMk id="96" creationId="{BEF6F416-8141-396B-8205-C25D0D38489E}"/>
          </ac:spMkLst>
        </pc:spChg>
        <pc:spChg chg="mod">
          <ac:chgData name="Pauline Smout" userId="3153cd80-1eee-4546-abae-f15e9d00b721" providerId="ADAL" clId="{2BA2CF51-6958-4872-A9D5-1E49D012CF6A}" dt="2023-02-10T19:04:04.879" v="892" actId="465"/>
          <ac:spMkLst>
            <pc:docMk/>
            <pc:sldMk cId="762717214" sldId="297"/>
            <ac:spMk id="103" creationId="{3B77A2C7-E2F7-500C-B2D7-5758161BC992}"/>
          </ac:spMkLst>
        </pc:spChg>
        <pc:spChg chg="mod">
          <ac:chgData name="Pauline Smout" userId="3153cd80-1eee-4546-abae-f15e9d00b721" providerId="ADAL" clId="{2BA2CF51-6958-4872-A9D5-1E49D012CF6A}" dt="2023-02-23T11:50:26.306" v="1024" actId="13926"/>
          <ac:spMkLst>
            <pc:docMk/>
            <pc:sldMk cId="762717214" sldId="297"/>
            <ac:spMk id="104" creationId="{DAB09BD7-584E-9AC5-739E-D2F4D43B382D}"/>
          </ac:spMkLst>
        </pc:spChg>
        <pc:spChg chg="mod">
          <ac:chgData name="Pauline Smout" userId="3153cd80-1eee-4546-abae-f15e9d00b721" providerId="ADAL" clId="{2BA2CF51-6958-4872-A9D5-1E49D012CF6A}" dt="2023-02-10T19:04:04.879" v="892" actId="465"/>
          <ac:spMkLst>
            <pc:docMk/>
            <pc:sldMk cId="762717214" sldId="297"/>
            <ac:spMk id="107" creationId="{6FE9D371-91A5-732C-F113-789754C50D6A}"/>
          </ac:spMkLst>
        </pc:spChg>
        <pc:spChg chg="mod">
          <ac:chgData name="Pauline Smout" userId="3153cd80-1eee-4546-abae-f15e9d00b721" providerId="ADAL" clId="{2BA2CF51-6958-4872-A9D5-1E49D012CF6A}" dt="2023-02-10T19:04:09.966" v="893" actId="465"/>
          <ac:spMkLst>
            <pc:docMk/>
            <pc:sldMk cId="762717214" sldId="297"/>
            <ac:spMk id="108" creationId="{344E3A27-780A-1168-25F1-686D10B6DC09}"/>
          </ac:spMkLst>
        </pc:spChg>
      </pc:sldChg>
      <pc:sldChg chg="addSp delSp modSp mod">
        <pc:chgData name="Pauline Smout" userId="3153cd80-1eee-4546-abae-f15e9d00b721" providerId="ADAL" clId="{2BA2CF51-6958-4872-A9D5-1E49D012CF6A}" dt="2023-02-10T19:05:35.321" v="990" actId="20577"/>
        <pc:sldMkLst>
          <pc:docMk/>
          <pc:sldMk cId="839669071" sldId="298"/>
        </pc:sldMkLst>
        <pc:spChg chg="add mod">
          <ac:chgData name="Pauline Smout" userId="3153cd80-1eee-4546-abae-f15e9d00b721" providerId="ADAL" clId="{2BA2CF51-6958-4872-A9D5-1E49D012CF6A}" dt="2023-02-10T18:39:24.605" v="64" actId="14100"/>
          <ac:spMkLst>
            <pc:docMk/>
            <pc:sldMk cId="839669071" sldId="298"/>
            <ac:spMk id="2" creationId="{6145CFAF-6E2D-C80F-A38C-427ED36D63A6}"/>
          </ac:spMkLst>
        </pc:spChg>
        <pc:spChg chg="add mod">
          <ac:chgData name="Pauline Smout" userId="3153cd80-1eee-4546-abae-f15e9d00b721" providerId="ADAL" clId="{2BA2CF51-6958-4872-A9D5-1E49D012CF6A}" dt="2023-02-10T18:39:36.282" v="66" actId="408"/>
          <ac:spMkLst>
            <pc:docMk/>
            <pc:sldMk cId="839669071" sldId="298"/>
            <ac:spMk id="3" creationId="{F2A06959-8285-14C0-1303-CC496CBE43DB}"/>
          </ac:spMkLst>
        </pc:spChg>
        <pc:spChg chg="add mod">
          <ac:chgData name="Pauline Smout" userId="3153cd80-1eee-4546-abae-f15e9d00b721" providerId="ADAL" clId="{2BA2CF51-6958-4872-A9D5-1E49D012CF6A}" dt="2023-02-10T18:39:36.282" v="66" actId="408"/>
          <ac:spMkLst>
            <pc:docMk/>
            <pc:sldMk cId="839669071" sldId="298"/>
            <ac:spMk id="5" creationId="{63E681B9-8548-9AC8-6F7E-5A3D3C42A069}"/>
          </ac:spMkLst>
        </pc:spChg>
        <pc:spChg chg="mod">
          <ac:chgData name="Pauline Smout" userId="3153cd80-1eee-4546-abae-f15e9d00b721" providerId="ADAL" clId="{2BA2CF51-6958-4872-A9D5-1E49D012CF6A}" dt="2023-02-10T19:05:35.321" v="990" actId="20577"/>
          <ac:spMkLst>
            <pc:docMk/>
            <pc:sldMk cId="839669071" sldId="298"/>
            <ac:spMk id="9" creationId="{3D588E30-0DA7-AF72-9B33-7A818C3FB181}"/>
          </ac:spMkLst>
        </pc:spChg>
        <pc:spChg chg="mod">
          <ac:chgData name="Pauline Smout" userId="3153cd80-1eee-4546-abae-f15e9d00b721" providerId="ADAL" clId="{2BA2CF51-6958-4872-A9D5-1E49D012CF6A}" dt="2023-02-10T18:43:49.041" v="168" actId="20577"/>
          <ac:spMkLst>
            <pc:docMk/>
            <pc:sldMk cId="839669071" sldId="298"/>
            <ac:spMk id="10" creationId="{EBD22DA1-4D2F-A12A-4D85-373840684483}"/>
          </ac:spMkLst>
        </pc:spChg>
        <pc:spChg chg="add mod">
          <ac:chgData name="Pauline Smout" userId="3153cd80-1eee-4546-abae-f15e9d00b721" providerId="ADAL" clId="{2BA2CF51-6958-4872-A9D5-1E49D012CF6A}" dt="2023-02-10T18:39:30.408" v="65" actId="1076"/>
          <ac:spMkLst>
            <pc:docMk/>
            <pc:sldMk cId="839669071" sldId="298"/>
            <ac:spMk id="14" creationId="{F503E200-7EDD-E92E-FD05-7DA5BBCDD044}"/>
          </ac:spMkLst>
        </pc:spChg>
        <pc:picChg chg="del">
          <ac:chgData name="Pauline Smout" userId="3153cd80-1eee-4546-abae-f15e9d00b721" providerId="ADAL" clId="{2BA2CF51-6958-4872-A9D5-1E49D012CF6A}" dt="2023-02-10T18:38:32.334" v="57" actId="478"/>
          <ac:picMkLst>
            <pc:docMk/>
            <pc:sldMk cId="839669071" sldId="298"/>
            <ac:picMk id="11" creationId="{B511C5B3-A8C7-0331-DF6B-04D50313F7E1}"/>
          </ac:picMkLst>
        </pc:picChg>
        <pc:picChg chg="del">
          <ac:chgData name="Pauline Smout" userId="3153cd80-1eee-4546-abae-f15e9d00b721" providerId="ADAL" clId="{2BA2CF51-6958-4872-A9D5-1E49D012CF6A}" dt="2023-02-10T18:38:32.334" v="57" actId="478"/>
          <ac:picMkLst>
            <pc:docMk/>
            <pc:sldMk cId="839669071" sldId="298"/>
            <ac:picMk id="12" creationId="{A4537DF5-26A8-D948-F677-9030F67DC543}"/>
          </ac:picMkLst>
        </pc:picChg>
        <pc:picChg chg="del">
          <ac:chgData name="Pauline Smout" userId="3153cd80-1eee-4546-abae-f15e9d00b721" providerId="ADAL" clId="{2BA2CF51-6958-4872-A9D5-1E49D012CF6A}" dt="2023-02-10T18:38:32.334" v="57" actId="478"/>
          <ac:picMkLst>
            <pc:docMk/>
            <pc:sldMk cId="839669071" sldId="298"/>
            <ac:picMk id="13" creationId="{25D4135F-1B1C-E183-69EA-94F5F8F586BA}"/>
          </ac:picMkLst>
        </pc:picChg>
      </pc:sldChg>
      <pc:sldChg chg="modSp mod">
        <pc:chgData name="Pauline Smout" userId="3153cd80-1eee-4546-abae-f15e9d00b721" providerId="ADAL" clId="{2BA2CF51-6958-4872-A9D5-1E49D012CF6A}" dt="2023-02-18T15:17:18.441" v="1018" actId="207"/>
        <pc:sldMkLst>
          <pc:docMk/>
          <pc:sldMk cId="1890761560" sldId="299"/>
        </pc:sldMkLst>
        <pc:spChg chg="mod">
          <ac:chgData name="Pauline Smout" userId="3153cd80-1eee-4546-abae-f15e9d00b721" providerId="ADAL" clId="{2BA2CF51-6958-4872-A9D5-1E49D012CF6A}" dt="2023-02-18T15:17:11.688" v="1016" actId="20577"/>
          <ac:spMkLst>
            <pc:docMk/>
            <pc:sldMk cId="1890761560" sldId="299"/>
            <ac:spMk id="14" creationId="{BBAA2DF4-9048-C1FF-D82F-A72FB6C4389C}"/>
          </ac:spMkLst>
        </pc:spChg>
        <pc:spChg chg="mod">
          <ac:chgData name="Pauline Smout" userId="3153cd80-1eee-4546-abae-f15e9d00b721" providerId="ADAL" clId="{2BA2CF51-6958-4872-A9D5-1E49D012CF6A}" dt="2023-02-18T15:17:18.441" v="1018" actId="207"/>
          <ac:spMkLst>
            <pc:docMk/>
            <pc:sldMk cId="1890761560" sldId="299"/>
            <ac:spMk id="15" creationId="{26D137AA-D9AE-B936-E82A-5604DC1B927A}"/>
          </ac:spMkLst>
        </pc:spChg>
      </pc:sldChg>
    </pc:docChg>
  </pc:docChgLst>
  <pc:docChgLst>
    <pc:chgData name="Pauline Smout" userId="3153cd80-1eee-4546-abae-f15e9d00b721" providerId="ADAL" clId="{81C8F9D0-96F1-4272-A5C3-631DBA14B790}"/>
    <pc:docChg chg="undo custSel addSld delSld modSld sldOrd modMainMaster delSection modSection modNotesMaster">
      <pc:chgData name="Pauline Smout" userId="3153cd80-1eee-4546-abae-f15e9d00b721" providerId="ADAL" clId="{81C8F9D0-96F1-4272-A5C3-631DBA14B790}" dt="2022-12-12T12:58:58.471" v="1048" actId="1076"/>
      <pc:docMkLst>
        <pc:docMk/>
      </pc:docMkLst>
      <pc:sldChg chg="modSp add del">
        <pc:chgData name="Pauline Smout" userId="3153cd80-1eee-4546-abae-f15e9d00b721" providerId="ADAL" clId="{81C8F9D0-96F1-4272-A5C3-631DBA14B790}" dt="2022-12-12T12:21:31.943" v="40" actId="47"/>
        <pc:sldMkLst>
          <pc:docMk/>
          <pc:sldMk cId="4177656757" sldId="256"/>
        </pc:sldMkLst>
        <pc:spChg chg="mod">
          <ac:chgData name="Pauline Smout" userId="3153cd80-1eee-4546-abae-f15e9d00b721" providerId="ADAL" clId="{81C8F9D0-96F1-4272-A5C3-631DBA14B790}" dt="2022-12-12T12:20:45.171" v="38"/>
          <ac:spMkLst>
            <pc:docMk/>
            <pc:sldMk cId="4177656757" sldId="256"/>
            <ac:spMk id="4" creationId="{C1C72911-12AC-CC4F-8FFE-E5C305EA1188}"/>
          </ac:spMkLst>
        </pc:spChg>
        <pc:spChg chg="mod">
          <ac:chgData name="Pauline Smout" userId="3153cd80-1eee-4546-abae-f15e9d00b721" providerId="ADAL" clId="{81C8F9D0-96F1-4272-A5C3-631DBA14B790}" dt="2022-12-12T12:20:45.171" v="38"/>
          <ac:spMkLst>
            <pc:docMk/>
            <pc:sldMk cId="4177656757" sldId="256"/>
            <ac:spMk id="5" creationId="{062048B3-CB32-E047-B706-8C5A32EBD9FC}"/>
          </ac:spMkLst>
        </pc:spChg>
      </pc:sldChg>
      <pc:sldChg chg="modSp add del">
        <pc:chgData name="Pauline Smout" userId="3153cd80-1eee-4546-abae-f15e9d00b721" providerId="ADAL" clId="{81C8F9D0-96F1-4272-A5C3-631DBA14B790}" dt="2022-12-12T12:21:31.943" v="40" actId="47"/>
        <pc:sldMkLst>
          <pc:docMk/>
          <pc:sldMk cId="3520345645" sldId="259"/>
        </pc:sldMkLst>
        <pc:spChg chg="mod">
          <ac:chgData name="Pauline Smout" userId="3153cd80-1eee-4546-abae-f15e9d00b721" providerId="ADAL" clId="{81C8F9D0-96F1-4272-A5C3-631DBA14B790}" dt="2022-12-12T12:20:45.171" v="38"/>
          <ac:spMkLst>
            <pc:docMk/>
            <pc:sldMk cId="3520345645" sldId="259"/>
            <ac:spMk id="2" creationId="{1ABF4D0D-2425-3E47-AD78-6665E3165D0E}"/>
          </ac:spMkLst>
        </pc:spChg>
        <pc:spChg chg="mod">
          <ac:chgData name="Pauline Smout" userId="3153cd80-1eee-4546-abae-f15e9d00b721" providerId="ADAL" clId="{81C8F9D0-96F1-4272-A5C3-631DBA14B790}" dt="2022-12-12T12:20:45.171" v="38"/>
          <ac:spMkLst>
            <pc:docMk/>
            <pc:sldMk cId="3520345645" sldId="259"/>
            <ac:spMk id="3" creationId="{C6ED0EBE-3481-5E89-BB12-A17512CC94D3}"/>
          </ac:spMkLst>
        </pc:spChg>
        <pc:spChg chg="mod">
          <ac:chgData name="Pauline Smout" userId="3153cd80-1eee-4546-abae-f15e9d00b721" providerId="ADAL" clId="{81C8F9D0-96F1-4272-A5C3-631DBA14B790}" dt="2022-12-12T12:20:45.171" v="38"/>
          <ac:spMkLst>
            <pc:docMk/>
            <pc:sldMk cId="3520345645" sldId="259"/>
            <ac:spMk id="9" creationId="{D80E8636-6819-B24A-AE7B-E3A03E1B929A}"/>
          </ac:spMkLst>
        </pc:spChg>
        <pc:spChg chg="mod">
          <ac:chgData name="Pauline Smout" userId="3153cd80-1eee-4546-abae-f15e9d00b721" providerId="ADAL" clId="{81C8F9D0-96F1-4272-A5C3-631DBA14B790}" dt="2022-12-12T12:20:45.171" v="38"/>
          <ac:spMkLst>
            <pc:docMk/>
            <pc:sldMk cId="3520345645" sldId="259"/>
            <ac:spMk id="10" creationId="{BE766610-A363-844B-BDA3-497E5D814C3A}"/>
          </ac:spMkLst>
        </pc:spChg>
        <pc:spChg chg="mod">
          <ac:chgData name="Pauline Smout" userId="3153cd80-1eee-4546-abae-f15e9d00b721" providerId="ADAL" clId="{81C8F9D0-96F1-4272-A5C3-631DBA14B790}" dt="2022-12-12T12:20:45.171" v="38"/>
          <ac:spMkLst>
            <pc:docMk/>
            <pc:sldMk cId="3520345645" sldId="259"/>
            <ac:spMk id="11" creationId="{483CB5C9-3282-5349-BC85-5665078236A0}"/>
          </ac:spMkLst>
        </pc:spChg>
        <pc:spChg chg="mod">
          <ac:chgData name="Pauline Smout" userId="3153cd80-1eee-4546-abae-f15e9d00b721" providerId="ADAL" clId="{81C8F9D0-96F1-4272-A5C3-631DBA14B790}" dt="2022-12-12T12:20:45.171" v="38"/>
          <ac:spMkLst>
            <pc:docMk/>
            <pc:sldMk cId="3520345645" sldId="259"/>
            <ac:spMk id="12" creationId="{BBDCB727-87B0-794F-91C2-376F5357C9E3}"/>
          </ac:spMkLst>
        </pc:spChg>
        <pc:spChg chg="mod">
          <ac:chgData name="Pauline Smout" userId="3153cd80-1eee-4546-abae-f15e9d00b721" providerId="ADAL" clId="{81C8F9D0-96F1-4272-A5C3-631DBA14B790}" dt="2022-12-12T12:20:45.171" v="38"/>
          <ac:spMkLst>
            <pc:docMk/>
            <pc:sldMk cId="3520345645" sldId="259"/>
            <ac:spMk id="13" creationId="{F9AC4E44-1755-884E-A27D-639AE8EEDA09}"/>
          </ac:spMkLst>
        </pc:spChg>
        <pc:spChg chg="mod">
          <ac:chgData name="Pauline Smout" userId="3153cd80-1eee-4546-abae-f15e9d00b721" providerId="ADAL" clId="{81C8F9D0-96F1-4272-A5C3-631DBA14B790}" dt="2022-12-12T12:20:45.171" v="38"/>
          <ac:spMkLst>
            <pc:docMk/>
            <pc:sldMk cId="3520345645" sldId="259"/>
            <ac:spMk id="16" creationId="{8DC81AB2-ACD5-1C88-D6F7-F0D10CD3D078}"/>
          </ac:spMkLst>
        </pc:spChg>
        <pc:grpChg chg="mod">
          <ac:chgData name="Pauline Smout" userId="3153cd80-1eee-4546-abae-f15e9d00b721" providerId="ADAL" clId="{81C8F9D0-96F1-4272-A5C3-631DBA14B790}" dt="2022-12-12T12:20:45.171" v="38"/>
          <ac:grpSpMkLst>
            <pc:docMk/>
            <pc:sldMk cId="3520345645" sldId="259"/>
            <ac:grpSpMk id="17" creationId="{7D3BDF58-C933-FFD5-8AF7-AD2881F53482}"/>
          </ac:grpSpMkLst>
        </pc:grpChg>
        <pc:graphicFrameChg chg="mod">
          <ac:chgData name="Pauline Smout" userId="3153cd80-1eee-4546-abae-f15e9d00b721" providerId="ADAL" clId="{81C8F9D0-96F1-4272-A5C3-631DBA14B790}" dt="2022-12-12T12:20:45.171" v="38"/>
          <ac:graphicFrameMkLst>
            <pc:docMk/>
            <pc:sldMk cId="3520345645" sldId="259"/>
            <ac:graphicFrameMk id="15" creationId="{1456AA1C-5C35-81CB-0001-FE4832166B3E}"/>
          </ac:graphicFrameMkLst>
        </pc:graphicFrameChg>
        <pc:picChg chg="mod">
          <ac:chgData name="Pauline Smout" userId="3153cd80-1eee-4546-abae-f15e9d00b721" providerId="ADAL" clId="{81C8F9D0-96F1-4272-A5C3-631DBA14B790}" dt="2022-12-12T12:20:45.171" v="38"/>
          <ac:picMkLst>
            <pc:docMk/>
            <pc:sldMk cId="3520345645" sldId="259"/>
            <ac:picMk id="4" creationId="{716748BD-7F99-5140-91FB-C276692FAF05}"/>
          </ac:picMkLst>
        </pc:picChg>
        <pc:picChg chg="mod">
          <ac:chgData name="Pauline Smout" userId="3153cd80-1eee-4546-abae-f15e9d00b721" providerId="ADAL" clId="{81C8F9D0-96F1-4272-A5C3-631DBA14B790}" dt="2022-12-12T12:20:45.171" v="38"/>
          <ac:picMkLst>
            <pc:docMk/>
            <pc:sldMk cId="3520345645" sldId="259"/>
            <ac:picMk id="5" creationId="{3AA55BF4-78B2-964B-BFF2-81F7BC156C3E}"/>
          </ac:picMkLst>
        </pc:picChg>
        <pc:picChg chg="mod">
          <ac:chgData name="Pauline Smout" userId="3153cd80-1eee-4546-abae-f15e9d00b721" providerId="ADAL" clId="{81C8F9D0-96F1-4272-A5C3-631DBA14B790}" dt="2022-12-12T12:20:45.171" v="38"/>
          <ac:picMkLst>
            <pc:docMk/>
            <pc:sldMk cId="3520345645" sldId="259"/>
            <ac:picMk id="6" creationId="{4B05BD77-21D3-F741-972C-ADDC682BEDBB}"/>
          </ac:picMkLst>
        </pc:picChg>
        <pc:picChg chg="mod">
          <ac:chgData name="Pauline Smout" userId="3153cd80-1eee-4546-abae-f15e9d00b721" providerId="ADAL" clId="{81C8F9D0-96F1-4272-A5C3-631DBA14B790}" dt="2022-12-12T12:20:45.171" v="38"/>
          <ac:picMkLst>
            <pc:docMk/>
            <pc:sldMk cId="3520345645" sldId="259"/>
            <ac:picMk id="7" creationId="{DB855D5C-C7A0-D34A-847D-B61C5225C218}"/>
          </ac:picMkLst>
        </pc:picChg>
        <pc:picChg chg="mod">
          <ac:chgData name="Pauline Smout" userId="3153cd80-1eee-4546-abae-f15e9d00b721" providerId="ADAL" clId="{81C8F9D0-96F1-4272-A5C3-631DBA14B790}" dt="2022-12-12T12:20:45.171" v="38"/>
          <ac:picMkLst>
            <pc:docMk/>
            <pc:sldMk cId="3520345645" sldId="259"/>
            <ac:picMk id="8" creationId="{1EEA9F8B-0B34-2749-9145-E0338FC6CDAD}"/>
          </ac:picMkLst>
        </pc:picChg>
        <pc:picChg chg="mod">
          <ac:chgData name="Pauline Smout" userId="3153cd80-1eee-4546-abae-f15e9d00b721" providerId="ADAL" clId="{81C8F9D0-96F1-4272-A5C3-631DBA14B790}" dt="2022-12-12T12:20:45.171" v="38"/>
          <ac:picMkLst>
            <pc:docMk/>
            <pc:sldMk cId="3520345645" sldId="259"/>
            <ac:picMk id="14" creationId="{E31FC641-575F-412F-9A1E-7702201A2AF4}"/>
          </ac:picMkLst>
        </pc:picChg>
      </pc:sldChg>
      <pc:sldChg chg="modSp add del setBg">
        <pc:chgData name="Pauline Smout" userId="3153cd80-1eee-4546-abae-f15e9d00b721" providerId="ADAL" clId="{81C8F9D0-96F1-4272-A5C3-631DBA14B790}" dt="2022-12-12T12:21:31.943" v="40" actId="47"/>
        <pc:sldMkLst>
          <pc:docMk/>
          <pc:sldMk cId="4000841388" sldId="264"/>
        </pc:sldMkLst>
        <pc:spChg chg="mod">
          <ac:chgData name="Pauline Smout" userId="3153cd80-1eee-4546-abae-f15e9d00b721" providerId="ADAL" clId="{81C8F9D0-96F1-4272-A5C3-631DBA14B790}" dt="2022-12-12T12:20:45.171" v="38"/>
          <ac:spMkLst>
            <pc:docMk/>
            <pc:sldMk cId="4000841388" sldId="264"/>
            <ac:spMk id="2" creationId="{C6DFE711-4EE6-4299-9CFA-EFAAB178ECEF}"/>
          </ac:spMkLst>
        </pc:spChg>
        <pc:spChg chg="mod">
          <ac:chgData name="Pauline Smout" userId="3153cd80-1eee-4546-abae-f15e9d00b721" providerId="ADAL" clId="{81C8F9D0-96F1-4272-A5C3-631DBA14B790}" dt="2022-12-12T12:20:45.171" v="38"/>
          <ac:spMkLst>
            <pc:docMk/>
            <pc:sldMk cId="4000841388" sldId="264"/>
            <ac:spMk id="3" creationId="{C6E3EC3F-B366-41E4-B56A-6CD583773A9F}"/>
          </ac:spMkLst>
        </pc:spChg>
        <pc:spChg chg="mod">
          <ac:chgData name="Pauline Smout" userId="3153cd80-1eee-4546-abae-f15e9d00b721" providerId="ADAL" clId="{81C8F9D0-96F1-4272-A5C3-631DBA14B790}" dt="2022-12-12T12:20:45.171" v="38"/>
          <ac:spMkLst>
            <pc:docMk/>
            <pc:sldMk cId="4000841388" sldId="264"/>
            <ac:spMk id="4" creationId="{CC977AA8-2807-4B22-BC73-ACCB69CA443E}"/>
          </ac:spMkLst>
        </pc:spChg>
        <pc:spChg chg="mod">
          <ac:chgData name="Pauline Smout" userId="3153cd80-1eee-4546-abae-f15e9d00b721" providerId="ADAL" clId="{81C8F9D0-96F1-4272-A5C3-631DBA14B790}" dt="2022-12-12T12:20:45.171" v="38"/>
          <ac:spMkLst>
            <pc:docMk/>
            <pc:sldMk cId="4000841388" sldId="264"/>
            <ac:spMk id="10" creationId="{2802B5C6-DB75-40B0-80E1-C42FA2BF50F9}"/>
          </ac:spMkLst>
        </pc:spChg>
        <pc:spChg chg="mod">
          <ac:chgData name="Pauline Smout" userId="3153cd80-1eee-4546-abae-f15e9d00b721" providerId="ADAL" clId="{81C8F9D0-96F1-4272-A5C3-631DBA14B790}" dt="2022-12-12T12:20:45.171" v="38"/>
          <ac:spMkLst>
            <pc:docMk/>
            <pc:sldMk cId="4000841388" sldId="264"/>
            <ac:spMk id="11" creationId="{BC45C624-4C81-45C0-AD4D-B8A30C271F77}"/>
          </ac:spMkLst>
        </pc:spChg>
        <pc:spChg chg="mod">
          <ac:chgData name="Pauline Smout" userId="3153cd80-1eee-4546-abae-f15e9d00b721" providerId="ADAL" clId="{81C8F9D0-96F1-4272-A5C3-631DBA14B790}" dt="2022-12-12T12:20:45.171" v="38"/>
          <ac:spMkLst>
            <pc:docMk/>
            <pc:sldMk cId="4000841388" sldId="264"/>
            <ac:spMk id="12" creationId="{8CC68676-362F-4043-9222-7A4F29984968}"/>
          </ac:spMkLst>
        </pc:spChg>
        <pc:spChg chg="mod">
          <ac:chgData name="Pauline Smout" userId="3153cd80-1eee-4546-abae-f15e9d00b721" providerId="ADAL" clId="{81C8F9D0-96F1-4272-A5C3-631DBA14B790}" dt="2022-12-12T12:20:45.171" v="38"/>
          <ac:spMkLst>
            <pc:docMk/>
            <pc:sldMk cId="4000841388" sldId="264"/>
            <ac:spMk id="13" creationId="{922857CD-7972-4D46-B0C5-E2BBB73FB054}"/>
          </ac:spMkLst>
        </pc:spChg>
        <pc:spChg chg="mod">
          <ac:chgData name="Pauline Smout" userId="3153cd80-1eee-4546-abae-f15e9d00b721" providerId="ADAL" clId="{81C8F9D0-96F1-4272-A5C3-631DBA14B790}" dt="2022-12-12T12:20:45.171" v="38"/>
          <ac:spMkLst>
            <pc:docMk/>
            <pc:sldMk cId="4000841388" sldId="264"/>
            <ac:spMk id="43" creationId="{C66EC20B-CB0B-41EA-A4F1-C05E63B8B1E4}"/>
          </ac:spMkLst>
        </pc:spChg>
        <pc:graphicFrameChg chg="mod">
          <ac:chgData name="Pauline Smout" userId="3153cd80-1eee-4546-abae-f15e9d00b721" providerId="ADAL" clId="{81C8F9D0-96F1-4272-A5C3-631DBA14B790}" dt="2022-12-12T12:20:45.171" v="38"/>
          <ac:graphicFrameMkLst>
            <pc:docMk/>
            <pc:sldMk cId="4000841388" sldId="264"/>
            <ac:graphicFrameMk id="7" creationId="{35862131-4C1A-05A9-5C66-D86B21F7B419}"/>
          </ac:graphicFrameMkLst>
        </pc:graphicFrameChg>
        <pc:picChg chg="mod">
          <ac:chgData name="Pauline Smout" userId="3153cd80-1eee-4546-abae-f15e9d00b721" providerId="ADAL" clId="{81C8F9D0-96F1-4272-A5C3-631DBA14B790}" dt="2022-12-12T12:20:45.171" v="38"/>
          <ac:picMkLst>
            <pc:docMk/>
            <pc:sldMk cId="4000841388" sldId="264"/>
            <ac:picMk id="14" creationId="{9C347CA9-5A61-47C9-855F-84C9B178D24F}"/>
          </ac:picMkLst>
        </pc:picChg>
        <pc:picChg chg="mod">
          <ac:chgData name="Pauline Smout" userId="3153cd80-1eee-4546-abae-f15e9d00b721" providerId="ADAL" clId="{81C8F9D0-96F1-4272-A5C3-631DBA14B790}" dt="2022-12-12T12:20:45.171" v="38"/>
          <ac:picMkLst>
            <pc:docMk/>
            <pc:sldMk cId="4000841388" sldId="264"/>
            <ac:picMk id="15" creationId="{743929B8-C265-4B42-AC2B-16843660267F}"/>
          </ac:picMkLst>
        </pc:picChg>
        <pc:picChg chg="mod">
          <ac:chgData name="Pauline Smout" userId="3153cd80-1eee-4546-abae-f15e9d00b721" providerId="ADAL" clId="{81C8F9D0-96F1-4272-A5C3-631DBA14B790}" dt="2022-12-12T12:20:45.171" v="38"/>
          <ac:picMkLst>
            <pc:docMk/>
            <pc:sldMk cId="4000841388" sldId="264"/>
            <ac:picMk id="16" creationId="{2EE209D0-DC65-45AC-B39F-AC7C95A7D4E3}"/>
          </ac:picMkLst>
        </pc:picChg>
        <pc:picChg chg="mod">
          <ac:chgData name="Pauline Smout" userId="3153cd80-1eee-4546-abae-f15e9d00b721" providerId="ADAL" clId="{81C8F9D0-96F1-4272-A5C3-631DBA14B790}" dt="2022-12-12T12:20:45.171" v="38"/>
          <ac:picMkLst>
            <pc:docMk/>
            <pc:sldMk cId="4000841388" sldId="264"/>
            <ac:picMk id="17" creationId="{66D5F1D0-05A2-49F9-8525-D4A8D54014A5}"/>
          </ac:picMkLst>
        </pc:picChg>
        <pc:picChg chg="mod">
          <ac:chgData name="Pauline Smout" userId="3153cd80-1eee-4546-abae-f15e9d00b721" providerId="ADAL" clId="{81C8F9D0-96F1-4272-A5C3-631DBA14B790}" dt="2022-12-12T12:20:45.171" v="38"/>
          <ac:picMkLst>
            <pc:docMk/>
            <pc:sldMk cId="4000841388" sldId="264"/>
            <ac:picMk id="18" creationId="{E9C9ABAC-F5F0-4832-BE0E-282C55C562FE}"/>
          </ac:picMkLst>
        </pc:picChg>
        <pc:picChg chg="mod">
          <ac:chgData name="Pauline Smout" userId="3153cd80-1eee-4546-abae-f15e9d00b721" providerId="ADAL" clId="{81C8F9D0-96F1-4272-A5C3-631DBA14B790}" dt="2022-12-12T12:20:45.171" v="38"/>
          <ac:picMkLst>
            <pc:docMk/>
            <pc:sldMk cId="4000841388" sldId="264"/>
            <ac:picMk id="19" creationId="{A57A07F4-EFC3-4EB1-A861-E586948296CD}"/>
          </ac:picMkLst>
        </pc:picChg>
        <pc:picChg chg="mod">
          <ac:chgData name="Pauline Smout" userId="3153cd80-1eee-4546-abae-f15e9d00b721" providerId="ADAL" clId="{81C8F9D0-96F1-4272-A5C3-631DBA14B790}" dt="2022-12-12T12:20:45.171" v="38"/>
          <ac:picMkLst>
            <pc:docMk/>
            <pc:sldMk cId="4000841388" sldId="264"/>
            <ac:picMk id="32" creationId="{BBE1FF6C-7D1D-4BC4-9C31-BDA20951EF8E}"/>
          </ac:picMkLst>
        </pc:picChg>
      </pc:sldChg>
      <pc:sldChg chg="modSp add del">
        <pc:chgData name="Pauline Smout" userId="3153cd80-1eee-4546-abae-f15e9d00b721" providerId="ADAL" clId="{81C8F9D0-96F1-4272-A5C3-631DBA14B790}" dt="2022-12-12T12:21:31.943" v="40" actId="47"/>
        <pc:sldMkLst>
          <pc:docMk/>
          <pc:sldMk cId="4019443596" sldId="267"/>
        </pc:sldMkLst>
        <pc:spChg chg="mod">
          <ac:chgData name="Pauline Smout" userId="3153cd80-1eee-4546-abae-f15e9d00b721" providerId="ADAL" clId="{81C8F9D0-96F1-4272-A5C3-631DBA14B790}" dt="2022-12-12T12:20:45.171" v="38"/>
          <ac:spMkLst>
            <pc:docMk/>
            <pc:sldMk cId="4019443596" sldId="267"/>
            <ac:spMk id="2" creationId="{BC45CFFC-4B4B-3E7D-4AAE-69A0ECF1E41B}"/>
          </ac:spMkLst>
        </pc:spChg>
      </pc:sldChg>
      <pc:sldChg chg="modSp add del mod">
        <pc:chgData name="Pauline Smout" userId="3153cd80-1eee-4546-abae-f15e9d00b721" providerId="ADAL" clId="{81C8F9D0-96F1-4272-A5C3-631DBA14B790}" dt="2022-12-12T12:21:31.943" v="40" actId="47"/>
        <pc:sldMkLst>
          <pc:docMk/>
          <pc:sldMk cId="1134547478" sldId="268"/>
        </pc:sldMkLst>
        <pc:spChg chg="mod">
          <ac:chgData name="Pauline Smout" userId="3153cd80-1eee-4546-abae-f15e9d00b721" providerId="ADAL" clId="{81C8F9D0-96F1-4272-A5C3-631DBA14B790}" dt="2022-12-12T12:20:45.171" v="38"/>
          <ac:spMkLst>
            <pc:docMk/>
            <pc:sldMk cId="1134547478" sldId="268"/>
            <ac:spMk id="2" creationId="{2633DC5D-4357-1056-7CF8-5C68A928894C}"/>
          </ac:spMkLst>
        </pc:spChg>
        <pc:spChg chg="mod">
          <ac:chgData name="Pauline Smout" userId="3153cd80-1eee-4546-abae-f15e9d00b721" providerId="ADAL" clId="{81C8F9D0-96F1-4272-A5C3-631DBA14B790}" dt="2022-12-12T12:20:45.171" v="38"/>
          <ac:spMkLst>
            <pc:docMk/>
            <pc:sldMk cId="1134547478" sldId="268"/>
            <ac:spMk id="3" creationId="{AD39B0EC-EADA-03B6-8FB8-33B0428344A4}"/>
          </ac:spMkLst>
        </pc:spChg>
      </pc:sldChg>
      <pc:sldChg chg="modSp add del mod modNotes">
        <pc:chgData name="Pauline Smout" userId="3153cd80-1eee-4546-abae-f15e9d00b721" providerId="ADAL" clId="{81C8F9D0-96F1-4272-A5C3-631DBA14B790}" dt="2022-12-12T12:21:31.943" v="40" actId="47"/>
        <pc:sldMkLst>
          <pc:docMk/>
          <pc:sldMk cId="512792025" sldId="271"/>
        </pc:sldMkLst>
        <pc:spChg chg="mod">
          <ac:chgData name="Pauline Smout" userId="3153cd80-1eee-4546-abae-f15e9d00b721" providerId="ADAL" clId="{81C8F9D0-96F1-4272-A5C3-631DBA14B790}" dt="2022-12-12T12:20:45.171" v="38"/>
          <ac:spMkLst>
            <pc:docMk/>
            <pc:sldMk cId="512792025" sldId="271"/>
            <ac:spMk id="2" creationId="{9B7F313F-5587-903A-A6F3-7FAD4BE73507}"/>
          </ac:spMkLst>
        </pc:spChg>
        <pc:spChg chg="mod">
          <ac:chgData name="Pauline Smout" userId="3153cd80-1eee-4546-abae-f15e9d00b721" providerId="ADAL" clId="{81C8F9D0-96F1-4272-A5C3-631DBA14B790}" dt="2022-12-12T12:20:45.171" v="38"/>
          <ac:spMkLst>
            <pc:docMk/>
            <pc:sldMk cId="512792025" sldId="271"/>
            <ac:spMk id="10" creationId="{1EFBCF4D-F841-BB8B-1CF7-ECD00B112829}"/>
          </ac:spMkLst>
        </pc:spChg>
        <pc:picChg chg="mod">
          <ac:chgData name="Pauline Smout" userId="3153cd80-1eee-4546-abae-f15e9d00b721" providerId="ADAL" clId="{81C8F9D0-96F1-4272-A5C3-631DBA14B790}" dt="2022-12-12T12:20:45.171" v="38"/>
          <ac:picMkLst>
            <pc:docMk/>
            <pc:sldMk cId="512792025" sldId="271"/>
            <ac:picMk id="31" creationId="{E59BDA4C-CFEB-2089-3ACB-9CB0A04EA541}"/>
          </ac:picMkLst>
        </pc:picChg>
        <pc:picChg chg="mod">
          <ac:chgData name="Pauline Smout" userId="3153cd80-1eee-4546-abae-f15e9d00b721" providerId="ADAL" clId="{81C8F9D0-96F1-4272-A5C3-631DBA14B790}" dt="2022-12-12T12:20:45.171" v="38"/>
          <ac:picMkLst>
            <pc:docMk/>
            <pc:sldMk cId="512792025" sldId="271"/>
            <ac:picMk id="33" creationId="{0650A552-B0B3-9FC5-F8DD-1CF4BCA428DE}"/>
          </ac:picMkLst>
        </pc:picChg>
      </pc:sldChg>
      <pc:sldChg chg="modSp add del mod">
        <pc:chgData name="Pauline Smout" userId="3153cd80-1eee-4546-abae-f15e9d00b721" providerId="ADAL" clId="{81C8F9D0-96F1-4272-A5C3-631DBA14B790}" dt="2022-12-12T12:21:31.943" v="40" actId="47"/>
        <pc:sldMkLst>
          <pc:docMk/>
          <pc:sldMk cId="2993578082" sldId="274"/>
        </pc:sldMkLst>
        <pc:spChg chg="mod">
          <ac:chgData name="Pauline Smout" userId="3153cd80-1eee-4546-abae-f15e9d00b721" providerId="ADAL" clId="{81C8F9D0-96F1-4272-A5C3-631DBA14B790}" dt="2022-12-12T12:20:45.171" v="38"/>
          <ac:spMkLst>
            <pc:docMk/>
            <pc:sldMk cId="2993578082" sldId="274"/>
            <ac:spMk id="2" creationId="{6A5638F4-7ACD-1E03-24EC-3093B7276F69}"/>
          </ac:spMkLst>
        </pc:spChg>
        <pc:spChg chg="mod">
          <ac:chgData name="Pauline Smout" userId="3153cd80-1eee-4546-abae-f15e9d00b721" providerId="ADAL" clId="{81C8F9D0-96F1-4272-A5C3-631DBA14B790}" dt="2022-12-12T12:20:45.171" v="38"/>
          <ac:spMkLst>
            <pc:docMk/>
            <pc:sldMk cId="2993578082" sldId="274"/>
            <ac:spMk id="3" creationId="{5EBF2092-B5C0-363D-E950-C94422D0C41C}"/>
          </ac:spMkLst>
        </pc:spChg>
        <pc:picChg chg="mod">
          <ac:chgData name="Pauline Smout" userId="3153cd80-1eee-4546-abae-f15e9d00b721" providerId="ADAL" clId="{81C8F9D0-96F1-4272-A5C3-631DBA14B790}" dt="2022-12-12T12:20:45.171" v="38"/>
          <ac:picMkLst>
            <pc:docMk/>
            <pc:sldMk cId="2993578082" sldId="274"/>
            <ac:picMk id="6" creationId="{57A85DCE-8612-B8C8-7C0D-1C5067B61B00}"/>
          </ac:picMkLst>
        </pc:picChg>
      </pc:sldChg>
      <pc:sldChg chg="modSp add del mod">
        <pc:chgData name="Pauline Smout" userId="3153cd80-1eee-4546-abae-f15e9d00b721" providerId="ADAL" clId="{81C8F9D0-96F1-4272-A5C3-631DBA14B790}" dt="2022-12-12T12:21:31.943" v="40" actId="47"/>
        <pc:sldMkLst>
          <pc:docMk/>
          <pc:sldMk cId="3795906259" sldId="281"/>
        </pc:sldMkLst>
        <pc:spChg chg="mod">
          <ac:chgData name="Pauline Smout" userId="3153cd80-1eee-4546-abae-f15e9d00b721" providerId="ADAL" clId="{81C8F9D0-96F1-4272-A5C3-631DBA14B790}" dt="2022-12-12T12:20:45.171" v="38"/>
          <ac:spMkLst>
            <pc:docMk/>
            <pc:sldMk cId="3795906259" sldId="281"/>
            <ac:spMk id="2" creationId="{C6DFE711-4EE6-4299-9CFA-EFAAB178ECEF}"/>
          </ac:spMkLst>
        </pc:spChg>
        <pc:spChg chg="mod">
          <ac:chgData name="Pauline Smout" userId="3153cd80-1eee-4546-abae-f15e9d00b721" providerId="ADAL" clId="{81C8F9D0-96F1-4272-A5C3-631DBA14B790}" dt="2022-12-12T12:20:45.171" v="38"/>
          <ac:spMkLst>
            <pc:docMk/>
            <pc:sldMk cId="3795906259" sldId="281"/>
            <ac:spMk id="5" creationId="{35488FF4-E2EB-49F3-EAFC-9905CA2241B1}"/>
          </ac:spMkLst>
        </pc:spChg>
        <pc:graphicFrameChg chg="mod">
          <ac:chgData name="Pauline Smout" userId="3153cd80-1eee-4546-abae-f15e9d00b721" providerId="ADAL" clId="{81C8F9D0-96F1-4272-A5C3-631DBA14B790}" dt="2022-12-12T12:20:45.171" v="38"/>
          <ac:graphicFrameMkLst>
            <pc:docMk/>
            <pc:sldMk cId="3795906259" sldId="281"/>
            <ac:graphicFrameMk id="7" creationId="{35862131-4C1A-05A9-5C66-D86B21F7B419}"/>
          </ac:graphicFrameMkLst>
        </pc:graphicFrameChg>
        <pc:picChg chg="mod">
          <ac:chgData name="Pauline Smout" userId="3153cd80-1eee-4546-abae-f15e9d00b721" providerId="ADAL" clId="{81C8F9D0-96F1-4272-A5C3-631DBA14B790}" dt="2022-12-12T12:20:45.171" v="38"/>
          <ac:picMkLst>
            <pc:docMk/>
            <pc:sldMk cId="3795906259" sldId="281"/>
            <ac:picMk id="8" creationId="{DF693B9B-669F-4DE7-A1A4-212203B347C6}"/>
          </ac:picMkLst>
        </pc:picChg>
      </pc:sldChg>
      <pc:sldChg chg="modSp add del">
        <pc:chgData name="Pauline Smout" userId="3153cd80-1eee-4546-abae-f15e9d00b721" providerId="ADAL" clId="{81C8F9D0-96F1-4272-A5C3-631DBA14B790}" dt="2022-12-12T12:21:31.943" v="40" actId="47"/>
        <pc:sldMkLst>
          <pc:docMk/>
          <pc:sldMk cId="3677188362" sldId="282"/>
        </pc:sldMkLst>
        <pc:spChg chg="mod">
          <ac:chgData name="Pauline Smout" userId="3153cd80-1eee-4546-abae-f15e9d00b721" providerId="ADAL" clId="{81C8F9D0-96F1-4272-A5C3-631DBA14B790}" dt="2022-12-12T12:20:45.171" v="38"/>
          <ac:spMkLst>
            <pc:docMk/>
            <pc:sldMk cId="3677188362" sldId="282"/>
            <ac:spMk id="2" creationId="{4FE82C33-7CE6-5DC3-5DC0-5459860D30C0}"/>
          </ac:spMkLst>
        </pc:spChg>
        <pc:spChg chg="mod">
          <ac:chgData name="Pauline Smout" userId="3153cd80-1eee-4546-abae-f15e9d00b721" providerId="ADAL" clId="{81C8F9D0-96F1-4272-A5C3-631DBA14B790}" dt="2022-12-12T12:20:45.171" v="38"/>
          <ac:spMkLst>
            <pc:docMk/>
            <pc:sldMk cId="3677188362" sldId="282"/>
            <ac:spMk id="8" creationId="{7A3A2213-ECF3-C059-4903-35BC4AF03C44}"/>
          </ac:spMkLst>
        </pc:spChg>
        <pc:graphicFrameChg chg="mod">
          <ac:chgData name="Pauline Smout" userId="3153cd80-1eee-4546-abae-f15e9d00b721" providerId="ADAL" clId="{81C8F9D0-96F1-4272-A5C3-631DBA14B790}" dt="2022-12-12T12:20:45.171" v="38"/>
          <ac:graphicFrameMkLst>
            <pc:docMk/>
            <pc:sldMk cId="3677188362" sldId="282"/>
            <ac:graphicFrameMk id="7" creationId="{ACD78364-B95B-C17D-C25A-348C073D6A23}"/>
          </ac:graphicFrameMkLst>
        </pc:graphicFrameChg>
      </pc:sldChg>
      <pc:sldChg chg="modSp add del">
        <pc:chgData name="Pauline Smout" userId="3153cd80-1eee-4546-abae-f15e9d00b721" providerId="ADAL" clId="{81C8F9D0-96F1-4272-A5C3-631DBA14B790}" dt="2022-12-12T12:21:31.943" v="40" actId="47"/>
        <pc:sldMkLst>
          <pc:docMk/>
          <pc:sldMk cId="250459846" sldId="284"/>
        </pc:sldMkLst>
        <pc:spChg chg="mod">
          <ac:chgData name="Pauline Smout" userId="3153cd80-1eee-4546-abae-f15e9d00b721" providerId="ADAL" clId="{81C8F9D0-96F1-4272-A5C3-631DBA14B790}" dt="2022-12-12T12:20:45.171" v="38"/>
          <ac:spMkLst>
            <pc:docMk/>
            <pc:sldMk cId="250459846" sldId="284"/>
            <ac:spMk id="2" creationId="{B25F21A7-37B6-A0B2-3D04-09D626A33E7C}"/>
          </ac:spMkLst>
        </pc:spChg>
        <pc:spChg chg="mod">
          <ac:chgData name="Pauline Smout" userId="3153cd80-1eee-4546-abae-f15e9d00b721" providerId="ADAL" clId="{81C8F9D0-96F1-4272-A5C3-631DBA14B790}" dt="2022-12-12T12:20:45.171" v="38"/>
          <ac:spMkLst>
            <pc:docMk/>
            <pc:sldMk cId="250459846" sldId="284"/>
            <ac:spMk id="3" creationId="{753036CD-CB41-256C-C234-B67EBB0E0549}"/>
          </ac:spMkLst>
        </pc:spChg>
        <pc:spChg chg="mod">
          <ac:chgData name="Pauline Smout" userId="3153cd80-1eee-4546-abae-f15e9d00b721" providerId="ADAL" clId="{81C8F9D0-96F1-4272-A5C3-631DBA14B790}" dt="2022-12-12T12:20:45.171" v="38"/>
          <ac:spMkLst>
            <pc:docMk/>
            <pc:sldMk cId="250459846" sldId="284"/>
            <ac:spMk id="4" creationId="{A54A66FF-AFD5-6B22-B063-351F8CB5FD2B}"/>
          </ac:spMkLst>
        </pc:spChg>
        <pc:spChg chg="mod">
          <ac:chgData name="Pauline Smout" userId="3153cd80-1eee-4546-abae-f15e9d00b721" providerId="ADAL" clId="{81C8F9D0-96F1-4272-A5C3-631DBA14B790}" dt="2022-12-12T12:20:45.171" v="38"/>
          <ac:spMkLst>
            <pc:docMk/>
            <pc:sldMk cId="250459846" sldId="284"/>
            <ac:spMk id="10" creationId="{C4CA9409-4B21-E918-DEBB-67F2C82B4DFE}"/>
          </ac:spMkLst>
        </pc:spChg>
        <pc:spChg chg="mod">
          <ac:chgData name="Pauline Smout" userId="3153cd80-1eee-4546-abae-f15e9d00b721" providerId="ADAL" clId="{81C8F9D0-96F1-4272-A5C3-631DBA14B790}" dt="2022-12-12T12:20:45.171" v="38"/>
          <ac:spMkLst>
            <pc:docMk/>
            <pc:sldMk cId="250459846" sldId="284"/>
            <ac:spMk id="12" creationId="{FD3AB0A6-5D6B-3AB9-9A41-2BBEBFFC4B9B}"/>
          </ac:spMkLst>
        </pc:spChg>
      </pc:sldChg>
      <pc:sldChg chg="modSp add del mod">
        <pc:chgData name="Pauline Smout" userId="3153cd80-1eee-4546-abae-f15e9d00b721" providerId="ADAL" clId="{81C8F9D0-96F1-4272-A5C3-631DBA14B790}" dt="2022-12-12T12:21:31.943" v="40" actId="47"/>
        <pc:sldMkLst>
          <pc:docMk/>
          <pc:sldMk cId="3909783186" sldId="286"/>
        </pc:sldMkLst>
        <pc:spChg chg="mod">
          <ac:chgData name="Pauline Smout" userId="3153cd80-1eee-4546-abae-f15e9d00b721" providerId="ADAL" clId="{81C8F9D0-96F1-4272-A5C3-631DBA14B790}" dt="2022-12-12T12:20:45.171" v="38"/>
          <ac:spMkLst>
            <pc:docMk/>
            <pc:sldMk cId="3909783186" sldId="286"/>
            <ac:spMk id="2" creationId="{C6DFE711-4EE6-4299-9CFA-EFAAB178ECEF}"/>
          </ac:spMkLst>
        </pc:spChg>
        <pc:spChg chg="mod">
          <ac:chgData name="Pauline Smout" userId="3153cd80-1eee-4546-abae-f15e9d00b721" providerId="ADAL" clId="{81C8F9D0-96F1-4272-A5C3-631DBA14B790}" dt="2022-12-12T12:20:45.171" v="38"/>
          <ac:spMkLst>
            <pc:docMk/>
            <pc:sldMk cId="3909783186" sldId="286"/>
            <ac:spMk id="4" creationId="{AED92620-BC18-BF3C-D417-8C3AD7ECFD4A}"/>
          </ac:spMkLst>
        </pc:spChg>
        <pc:spChg chg="mod">
          <ac:chgData name="Pauline Smout" userId="3153cd80-1eee-4546-abae-f15e9d00b721" providerId="ADAL" clId="{81C8F9D0-96F1-4272-A5C3-631DBA14B790}" dt="2022-12-12T12:20:45.171" v="38"/>
          <ac:spMkLst>
            <pc:docMk/>
            <pc:sldMk cId="3909783186" sldId="286"/>
            <ac:spMk id="9" creationId="{0227DF8E-59C5-7E54-57D9-1710DBDA5661}"/>
          </ac:spMkLst>
        </pc:spChg>
        <pc:graphicFrameChg chg="mod">
          <ac:chgData name="Pauline Smout" userId="3153cd80-1eee-4546-abae-f15e9d00b721" providerId="ADAL" clId="{81C8F9D0-96F1-4272-A5C3-631DBA14B790}" dt="2022-12-12T12:20:45.171" v="38"/>
          <ac:graphicFrameMkLst>
            <pc:docMk/>
            <pc:sldMk cId="3909783186" sldId="286"/>
            <ac:graphicFrameMk id="7" creationId="{35862131-4C1A-05A9-5C66-D86B21F7B419}"/>
          </ac:graphicFrameMkLst>
        </pc:graphicFrameChg>
        <pc:picChg chg="mod">
          <ac:chgData name="Pauline Smout" userId="3153cd80-1eee-4546-abae-f15e9d00b721" providerId="ADAL" clId="{81C8F9D0-96F1-4272-A5C3-631DBA14B790}" dt="2022-12-12T12:20:45.171" v="38"/>
          <ac:picMkLst>
            <pc:docMk/>
            <pc:sldMk cId="3909783186" sldId="286"/>
            <ac:picMk id="8" creationId="{DF693B9B-669F-4DE7-A1A4-212203B347C6}"/>
          </ac:picMkLst>
        </pc:picChg>
      </pc:sldChg>
      <pc:sldChg chg="modSp add del">
        <pc:chgData name="Pauline Smout" userId="3153cd80-1eee-4546-abae-f15e9d00b721" providerId="ADAL" clId="{81C8F9D0-96F1-4272-A5C3-631DBA14B790}" dt="2022-12-12T12:21:31.943" v="40" actId="47"/>
        <pc:sldMkLst>
          <pc:docMk/>
          <pc:sldMk cId="1001526969" sldId="287"/>
        </pc:sldMkLst>
        <pc:spChg chg="mod">
          <ac:chgData name="Pauline Smout" userId="3153cd80-1eee-4546-abae-f15e9d00b721" providerId="ADAL" clId="{81C8F9D0-96F1-4272-A5C3-631DBA14B790}" dt="2022-12-12T12:20:45.171" v="38"/>
          <ac:spMkLst>
            <pc:docMk/>
            <pc:sldMk cId="1001526969" sldId="287"/>
            <ac:spMk id="2" creationId="{5C5772BA-7EF3-D03F-41AB-52C406403621}"/>
          </ac:spMkLst>
        </pc:spChg>
        <pc:picChg chg="mod">
          <ac:chgData name="Pauline Smout" userId="3153cd80-1eee-4546-abae-f15e9d00b721" providerId="ADAL" clId="{81C8F9D0-96F1-4272-A5C3-631DBA14B790}" dt="2022-12-12T12:20:45.171" v="38"/>
          <ac:picMkLst>
            <pc:docMk/>
            <pc:sldMk cId="1001526969" sldId="287"/>
            <ac:picMk id="4" creationId="{8E01C5E1-2532-A7B8-135E-37A440B876CE}"/>
          </ac:picMkLst>
        </pc:picChg>
      </pc:sldChg>
      <pc:sldChg chg="modSp add del modNotes">
        <pc:chgData name="Pauline Smout" userId="3153cd80-1eee-4546-abae-f15e9d00b721" providerId="ADAL" clId="{81C8F9D0-96F1-4272-A5C3-631DBA14B790}" dt="2022-12-12T12:21:31.943" v="40" actId="47"/>
        <pc:sldMkLst>
          <pc:docMk/>
          <pc:sldMk cId="1723126155" sldId="288"/>
        </pc:sldMkLst>
        <pc:spChg chg="mod">
          <ac:chgData name="Pauline Smout" userId="3153cd80-1eee-4546-abae-f15e9d00b721" providerId="ADAL" clId="{81C8F9D0-96F1-4272-A5C3-631DBA14B790}" dt="2022-12-12T12:20:45.171" v="38"/>
          <ac:spMkLst>
            <pc:docMk/>
            <pc:sldMk cId="1723126155" sldId="288"/>
            <ac:spMk id="2" creationId="{9B7F313F-5587-903A-A6F3-7FAD4BE73507}"/>
          </ac:spMkLst>
        </pc:spChg>
        <pc:spChg chg="mod">
          <ac:chgData name="Pauline Smout" userId="3153cd80-1eee-4546-abae-f15e9d00b721" providerId="ADAL" clId="{81C8F9D0-96F1-4272-A5C3-631DBA14B790}" dt="2022-12-12T12:20:45.171" v="38"/>
          <ac:spMkLst>
            <pc:docMk/>
            <pc:sldMk cId="1723126155" sldId="288"/>
            <ac:spMk id="11" creationId="{1EF6BE25-BAFA-1B14-F890-05A5EA8ABF98}"/>
          </ac:spMkLst>
        </pc:spChg>
        <pc:spChg chg="mod">
          <ac:chgData name="Pauline Smout" userId="3153cd80-1eee-4546-abae-f15e9d00b721" providerId="ADAL" clId="{81C8F9D0-96F1-4272-A5C3-631DBA14B790}" dt="2022-12-12T12:20:45.171" v="38"/>
          <ac:spMkLst>
            <pc:docMk/>
            <pc:sldMk cId="1723126155" sldId="288"/>
            <ac:spMk id="13" creationId="{86BD1CB3-6156-744B-8A8C-202AAC1129F1}"/>
          </ac:spMkLst>
        </pc:spChg>
        <pc:spChg chg="mod">
          <ac:chgData name="Pauline Smout" userId="3153cd80-1eee-4546-abae-f15e9d00b721" providerId="ADAL" clId="{81C8F9D0-96F1-4272-A5C3-631DBA14B790}" dt="2022-12-12T12:20:45.171" v="38"/>
          <ac:spMkLst>
            <pc:docMk/>
            <pc:sldMk cId="1723126155" sldId="288"/>
            <ac:spMk id="16" creationId="{D03F2C0A-7CEF-F92F-63A1-8044BF37B62F}"/>
          </ac:spMkLst>
        </pc:spChg>
        <pc:spChg chg="mod">
          <ac:chgData name="Pauline Smout" userId="3153cd80-1eee-4546-abae-f15e9d00b721" providerId="ADAL" clId="{81C8F9D0-96F1-4272-A5C3-631DBA14B790}" dt="2022-12-12T12:20:45.171" v="38"/>
          <ac:spMkLst>
            <pc:docMk/>
            <pc:sldMk cId="1723126155" sldId="288"/>
            <ac:spMk id="24" creationId="{93F1B343-78D9-2960-86E2-A1AC56E2EB25}"/>
          </ac:spMkLst>
        </pc:spChg>
        <pc:spChg chg="mod">
          <ac:chgData name="Pauline Smout" userId="3153cd80-1eee-4546-abae-f15e9d00b721" providerId="ADAL" clId="{81C8F9D0-96F1-4272-A5C3-631DBA14B790}" dt="2022-12-12T12:20:45.171" v="38"/>
          <ac:spMkLst>
            <pc:docMk/>
            <pc:sldMk cId="1723126155" sldId="288"/>
            <ac:spMk id="40" creationId="{42EA42CB-5BE1-81AE-4917-BB1E8F462EB1}"/>
          </ac:spMkLst>
        </pc:spChg>
        <pc:spChg chg="mod">
          <ac:chgData name="Pauline Smout" userId="3153cd80-1eee-4546-abae-f15e9d00b721" providerId="ADAL" clId="{81C8F9D0-96F1-4272-A5C3-631DBA14B790}" dt="2022-12-12T12:20:45.171" v="38"/>
          <ac:spMkLst>
            <pc:docMk/>
            <pc:sldMk cId="1723126155" sldId="288"/>
            <ac:spMk id="42" creationId="{42AD68FB-C9CB-652A-F010-A35D8A77BDC2}"/>
          </ac:spMkLst>
        </pc:spChg>
        <pc:spChg chg="mod">
          <ac:chgData name="Pauline Smout" userId="3153cd80-1eee-4546-abae-f15e9d00b721" providerId="ADAL" clId="{81C8F9D0-96F1-4272-A5C3-631DBA14B790}" dt="2022-12-12T12:20:45.171" v="38"/>
          <ac:spMkLst>
            <pc:docMk/>
            <pc:sldMk cId="1723126155" sldId="288"/>
            <ac:spMk id="45" creationId="{D9385560-734D-483E-5EFA-599A7DD8D793}"/>
          </ac:spMkLst>
        </pc:spChg>
        <pc:spChg chg="mod">
          <ac:chgData name="Pauline Smout" userId="3153cd80-1eee-4546-abae-f15e9d00b721" providerId="ADAL" clId="{81C8F9D0-96F1-4272-A5C3-631DBA14B790}" dt="2022-12-12T12:20:45.171" v="38"/>
          <ac:spMkLst>
            <pc:docMk/>
            <pc:sldMk cId="1723126155" sldId="288"/>
            <ac:spMk id="57" creationId="{0CA61A35-A146-9FB0-C946-AFC927AE08B2}"/>
          </ac:spMkLst>
        </pc:spChg>
        <pc:grpChg chg="mod">
          <ac:chgData name="Pauline Smout" userId="3153cd80-1eee-4546-abae-f15e9d00b721" providerId="ADAL" clId="{81C8F9D0-96F1-4272-A5C3-631DBA14B790}" dt="2022-12-12T12:20:45.171" v="38"/>
          <ac:grpSpMkLst>
            <pc:docMk/>
            <pc:sldMk cId="1723126155" sldId="288"/>
            <ac:grpSpMk id="39" creationId="{3C260399-1A02-6011-34D7-3B3B1114BF54}"/>
          </ac:grpSpMkLst>
        </pc:grpChg>
        <pc:grpChg chg="mod">
          <ac:chgData name="Pauline Smout" userId="3153cd80-1eee-4546-abae-f15e9d00b721" providerId="ADAL" clId="{81C8F9D0-96F1-4272-A5C3-631DBA14B790}" dt="2022-12-12T12:20:45.171" v="38"/>
          <ac:grpSpMkLst>
            <pc:docMk/>
            <pc:sldMk cId="1723126155" sldId="288"/>
            <ac:grpSpMk id="49" creationId="{8CF31348-4ED3-8DC4-3AF9-72904E72387C}"/>
          </ac:grpSpMkLst>
        </pc:grpChg>
        <pc:grpChg chg="mod">
          <ac:chgData name="Pauline Smout" userId="3153cd80-1eee-4546-abae-f15e9d00b721" providerId="ADAL" clId="{81C8F9D0-96F1-4272-A5C3-631DBA14B790}" dt="2022-12-12T12:20:45.171" v="38"/>
          <ac:grpSpMkLst>
            <pc:docMk/>
            <pc:sldMk cId="1723126155" sldId="288"/>
            <ac:grpSpMk id="50" creationId="{C51A7A32-99B9-9D28-571A-28E13CE0810B}"/>
          </ac:grpSpMkLst>
        </pc:grpChg>
        <pc:grpChg chg="mod">
          <ac:chgData name="Pauline Smout" userId="3153cd80-1eee-4546-abae-f15e9d00b721" providerId="ADAL" clId="{81C8F9D0-96F1-4272-A5C3-631DBA14B790}" dt="2022-12-12T12:20:45.171" v="38"/>
          <ac:grpSpMkLst>
            <pc:docMk/>
            <pc:sldMk cId="1723126155" sldId="288"/>
            <ac:grpSpMk id="51" creationId="{2FC3B6BF-2371-7928-0953-48D6A0EDBB79}"/>
          </ac:grpSpMkLst>
        </pc:grpChg>
        <pc:grpChg chg="mod">
          <ac:chgData name="Pauline Smout" userId="3153cd80-1eee-4546-abae-f15e9d00b721" providerId="ADAL" clId="{81C8F9D0-96F1-4272-A5C3-631DBA14B790}" dt="2022-12-12T12:20:45.171" v="38"/>
          <ac:grpSpMkLst>
            <pc:docMk/>
            <pc:sldMk cId="1723126155" sldId="288"/>
            <ac:grpSpMk id="52" creationId="{C71A60FD-BCDD-3D03-C490-B3EF66891DF5}"/>
          </ac:grpSpMkLst>
        </pc:grpChg>
        <pc:grpChg chg="mod">
          <ac:chgData name="Pauline Smout" userId="3153cd80-1eee-4546-abae-f15e9d00b721" providerId="ADAL" clId="{81C8F9D0-96F1-4272-A5C3-631DBA14B790}" dt="2022-12-12T12:20:45.171" v="38"/>
          <ac:grpSpMkLst>
            <pc:docMk/>
            <pc:sldMk cId="1723126155" sldId="288"/>
            <ac:grpSpMk id="53" creationId="{806A881E-DB0D-70AA-6E3B-0496A127D407}"/>
          </ac:grpSpMkLst>
        </pc:grpChg>
        <pc:grpChg chg="mod">
          <ac:chgData name="Pauline Smout" userId="3153cd80-1eee-4546-abae-f15e9d00b721" providerId="ADAL" clId="{81C8F9D0-96F1-4272-A5C3-631DBA14B790}" dt="2022-12-12T12:20:45.171" v="38"/>
          <ac:grpSpMkLst>
            <pc:docMk/>
            <pc:sldMk cId="1723126155" sldId="288"/>
            <ac:grpSpMk id="56" creationId="{ADD4CBE8-B917-6F8E-1516-16CD51D1B362}"/>
          </ac:grpSpMkLst>
        </pc:grpChg>
        <pc:grpChg chg="mod">
          <ac:chgData name="Pauline Smout" userId="3153cd80-1eee-4546-abae-f15e9d00b721" providerId="ADAL" clId="{81C8F9D0-96F1-4272-A5C3-631DBA14B790}" dt="2022-12-12T12:20:45.171" v="38"/>
          <ac:grpSpMkLst>
            <pc:docMk/>
            <pc:sldMk cId="1723126155" sldId="288"/>
            <ac:grpSpMk id="64" creationId="{7BAEB842-64CC-2C4E-89C4-86237A956B94}"/>
          </ac:grpSpMkLst>
        </pc:grpChg>
        <pc:picChg chg="mod">
          <ac:chgData name="Pauline Smout" userId="3153cd80-1eee-4546-abae-f15e9d00b721" providerId="ADAL" clId="{81C8F9D0-96F1-4272-A5C3-631DBA14B790}" dt="2022-12-12T12:20:45.171" v="38"/>
          <ac:picMkLst>
            <pc:docMk/>
            <pc:sldMk cId="1723126155" sldId="288"/>
            <ac:picMk id="22" creationId="{5A2CBADA-64BF-2A17-2271-18389CEB1379}"/>
          </ac:picMkLst>
        </pc:picChg>
        <pc:picChg chg="mod">
          <ac:chgData name="Pauline Smout" userId="3153cd80-1eee-4546-abae-f15e9d00b721" providerId="ADAL" clId="{81C8F9D0-96F1-4272-A5C3-631DBA14B790}" dt="2022-12-12T12:20:45.171" v="38"/>
          <ac:picMkLst>
            <pc:docMk/>
            <pc:sldMk cId="1723126155" sldId="288"/>
            <ac:picMk id="31" creationId="{E59BDA4C-CFEB-2089-3ACB-9CB0A04EA541}"/>
          </ac:picMkLst>
        </pc:picChg>
        <pc:picChg chg="mod">
          <ac:chgData name="Pauline Smout" userId="3153cd80-1eee-4546-abae-f15e9d00b721" providerId="ADAL" clId="{81C8F9D0-96F1-4272-A5C3-631DBA14B790}" dt="2022-12-12T12:20:45.171" v="38"/>
          <ac:picMkLst>
            <pc:docMk/>
            <pc:sldMk cId="1723126155" sldId="288"/>
            <ac:picMk id="55" creationId="{3DA817E3-4DC9-37BA-927C-F832A03C9463}"/>
          </ac:picMkLst>
        </pc:picChg>
        <pc:picChg chg="mod">
          <ac:chgData name="Pauline Smout" userId="3153cd80-1eee-4546-abae-f15e9d00b721" providerId="ADAL" clId="{81C8F9D0-96F1-4272-A5C3-631DBA14B790}" dt="2022-12-12T12:20:45.171" v="38"/>
          <ac:picMkLst>
            <pc:docMk/>
            <pc:sldMk cId="1723126155" sldId="288"/>
            <ac:picMk id="59" creationId="{240FC270-861D-D4C6-FAA8-1FEF86294B79}"/>
          </ac:picMkLst>
        </pc:picChg>
        <pc:picChg chg="mod">
          <ac:chgData name="Pauline Smout" userId="3153cd80-1eee-4546-abae-f15e9d00b721" providerId="ADAL" clId="{81C8F9D0-96F1-4272-A5C3-631DBA14B790}" dt="2022-12-12T12:20:45.171" v="38"/>
          <ac:picMkLst>
            <pc:docMk/>
            <pc:sldMk cId="1723126155" sldId="288"/>
            <ac:picMk id="61" creationId="{CFB7CB4C-414F-3923-DFE2-6DA2AC6CB92C}"/>
          </ac:picMkLst>
        </pc:picChg>
        <pc:cxnChg chg="mod">
          <ac:chgData name="Pauline Smout" userId="3153cd80-1eee-4546-abae-f15e9d00b721" providerId="ADAL" clId="{81C8F9D0-96F1-4272-A5C3-631DBA14B790}" dt="2022-12-12T12:20:45.171" v="38"/>
          <ac:cxnSpMkLst>
            <pc:docMk/>
            <pc:sldMk cId="1723126155" sldId="288"/>
            <ac:cxnSpMk id="8" creationId="{4EB4709B-EA2E-2C16-41A2-8DDEA0326099}"/>
          </ac:cxnSpMkLst>
        </pc:cxnChg>
        <pc:cxnChg chg="mod">
          <ac:chgData name="Pauline Smout" userId="3153cd80-1eee-4546-abae-f15e9d00b721" providerId="ADAL" clId="{81C8F9D0-96F1-4272-A5C3-631DBA14B790}" dt="2022-12-12T12:20:45.171" v="38"/>
          <ac:cxnSpMkLst>
            <pc:docMk/>
            <pc:sldMk cId="1723126155" sldId="288"/>
            <ac:cxnSpMk id="12" creationId="{039AB587-7337-0090-5FBC-378E857C9CCB}"/>
          </ac:cxnSpMkLst>
        </pc:cxnChg>
        <pc:cxnChg chg="mod">
          <ac:chgData name="Pauline Smout" userId="3153cd80-1eee-4546-abae-f15e9d00b721" providerId="ADAL" clId="{81C8F9D0-96F1-4272-A5C3-631DBA14B790}" dt="2022-12-12T12:20:45.171" v="38"/>
          <ac:cxnSpMkLst>
            <pc:docMk/>
            <pc:sldMk cId="1723126155" sldId="288"/>
            <ac:cxnSpMk id="15" creationId="{51E37113-0184-ADC2-D867-5D7FB1E882EE}"/>
          </ac:cxnSpMkLst>
        </pc:cxnChg>
        <pc:cxnChg chg="mod">
          <ac:chgData name="Pauline Smout" userId="3153cd80-1eee-4546-abae-f15e9d00b721" providerId="ADAL" clId="{81C8F9D0-96F1-4272-A5C3-631DBA14B790}" dt="2022-12-12T12:20:45.171" v="38"/>
          <ac:cxnSpMkLst>
            <pc:docMk/>
            <pc:sldMk cId="1723126155" sldId="288"/>
            <ac:cxnSpMk id="41" creationId="{60671055-814D-0774-234E-77FCD9C915BF}"/>
          </ac:cxnSpMkLst>
        </pc:cxnChg>
        <pc:cxnChg chg="mod">
          <ac:chgData name="Pauline Smout" userId="3153cd80-1eee-4546-abae-f15e9d00b721" providerId="ADAL" clId="{81C8F9D0-96F1-4272-A5C3-631DBA14B790}" dt="2022-12-12T12:20:45.171" v="38"/>
          <ac:cxnSpMkLst>
            <pc:docMk/>
            <pc:sldMk cId="1723126155" sldId="288"/>
            <ac:cxnSpMk id="46" creationId="{A5130649-8B94-487B-48BD-DC008E7F94B7}"/>
          </ac:cxnSpMkLst>
        </pc:cxnChg>
      </pc:sldChg>
      <pc:sldChg chg="modSp add del modNotes">
        <pc:chgData name="Pauline Smout" userId="3153cd80-1eee-4546-abae-f15e9d00b721" providerId="ADAL" clId="{81C8F9D0-96F1-4272-A5C3-631DBA14B790}" dt="2022-12-12T12:21:31.943" v="40" actId="47"/>
        <pc:sldMkLst>
          <pc:docMk/>
          <pc:sldMk cId="1238503510" sldId="289"/>
        </pc:sldMkLst>
        <pc:spChg chg="mod">
          <ac:chgData name="Pauline Smout" userId="3153cd80-1eee-4546-abae-f15e9d00b721" providerId="ADAL" clId="{81C8F9D0-96F1-4272-A5C3-631DBA14B790}" dt="2022-12-12T12:20:45.171" v="38"/>
          <ac:spMkLst>
            <pc:docMk/>
            <pc:sldMk cId="1238503510" sldId="289"/>
            <ac:spMk id="2" creationId="{9B7F313F-5587-903A-A6F3-7FAD4BE73507}"/>
          </ac:spMkLst>
        </pc:spChg>
        <pc:spChg chg="mod">
          <ac:chgData name="Pauline Smout" userId="3153cd80-1eee-4546-abae-f15e9d00b721" providerId="ADAL" clId="{81C8F9D0-96F1-4272-A5C3-631DBA14B790}" dt="2022-12-12T12:20:45.171" v="38"/>
          <ac:spMkLst>
            <pc:docMk/>
            <pc:sldMk cId="1238503510" sldId="289"/>
            <ac:spMk id="3" creationId="{7C6C7591-47F0-CE13-E1DB-939AE2BDDBBF}"/>
          </ac:spMkLst>
        </pc:spChg>
      </pc:sldChg>
      <pc:sldChg chg="modSp add del mod">
        <pc:chgData name="Pauline Smout" userId="3153cd80-1eee-4546-abae-f15e9d00b721" providerId="ADAL" clId="{81C8F9D0-96F1-4272-A5C3-631DBA14B790}" dt="2022-12-12T12:21:31.943" v="40" actId="47"/>
        <pc:sldMkLst>
          <pc:docMk/>
          <pc:sldMk cId="2803583537" sldId="290"/>
        </pc:sldMkLst>
        <pc:spChg chg="mod">
          <ac:chgData name="Pauline Smout" userId="3153cd80-1eee-4546-abae-f15e9d00b721" providerId="ADAL" clId="{81C8F9D0-96F1-4272-A5C3-631DBA14B790}" dt="2022-12-12T12:20:45.171" v="38"/>
          <ac:spMkLst>
            <pc:docMk/>
            <pc:sldMk cId="2803583537" sldId="290"/>
            <ac:spMk id="2" creationId="{C6DFE711-4EE6-4299-9CFA-EFAAB178ECEF}"/>
          </ac:spMkLst>
        </pc:spChg>
        <pc:spChg chg="mod">
          <ac:chgData name="Pauline Smout" userId="3153cd80-1eee-4546-abae-f15e9d00b721" providerId="ADAL" clId="{81C8F9D0-96F1-4272-A5C3-631DBA14B790}" dt="2022-12-12T12:20:45.171" v="38"/>
          <ac:spMkLst>
            <pc:docMk/>
            <pc:sldMk cId="2803583537" sldId="290"/>
            <ac:spMk id="3" creationId="{9882B3CF-B77E-FCB3-A365-D62405EB0AE3}"/>
          </ac:spMkLst>
        </pc:spChg>
        <pc:spChg chg="mod">
          <ac:chgData name="Pauline Smout" userId="3153cd80-1eee-4546-abae-f15e9d00b721" providerId="ADAL" clId="{81C8F9D0-96F1-4272-A5C3-631DBA14B790}" dt="2022-12-12T12:20:45.171" v="38"/>
          <ac:spMkLst>
            <pc:docMk/>
            <pc:sldMk cId="2803583537" sldId="290"/>
            <ac:spMk id="4" creationId="{CA0BC87E-825C-E0FC-CA42-0F25580AA34D}"/>
          </ac:spMkLst>
        </pc:spChg>
        <pc:spChg chg="mod">
          <ac:chgData name="Pauline Smout" userId="3153cd80-1eee-4546-abae-f15e9d00b721" providerId="ADAL" clId="{81C8F9D0-96F1-4272-A5C3-631DBA14B790}" dt="2022-12-12T12:20:45.171" v="38"/>
          <ac:spMkLst>
            <pc:docMk/>
            <pc:sldMk cId="2803583537" sldId="290"/>
            <ac:spMk id="6" creationId="{0E690D63-BB45-2CF9-2911-E1805F256C5B}"/>
          </ac:spMkLst>
        </pc:spChg>
        <pc:graphicFrameChg chg="mod">
          <ac:chgData name="Pauline Smout" userId="3153cd80-1eee-4546-abae-f15e9d00b721" providerId="ADAL" clId="{81C8F9D0-96F1-4272-A5C3-631DBA14B790}" dt="2022-12-12T12:20:45.171" v="38"/>
          <ac:graphicFrameMkLst>
            <pc:docMk/>
            <pc:sldMk cId="2803583537" sldId="290"/>
            <ac:graphicFrameMk id="7" creationId="{35862131-4C1A-05A9-5C66-D86B21F7B419}"/>
          </ac:graphicFrameMkLst>
        </pc:graphicFrameChg>
        <pc:picChg chg="mod">
          <ac:chgData name="Pauline Smout" userId="3153cd80-1eee-4546-abae-f15e9d00b721" providerId="ADAL" clId="{81C8F9D0-96F1-4272-A5C3-631DBA14B790}" dt="2022-12-12T12:20:45.171" v="38"/>
          <ac:picMkLst>
            <pc:docMk/>
            <pc:sldMk cId="2803583537" sldId="290"/>
            <ac:picMk id="8" creationId="{DF693B9B-669F-4DE7-A1A4-212203B347C6}"/>
          </ac:picMkLst>
        </pc:picChg>
      </pc:sldChg>
      <pc:sldChg chg="modSp add del">
        <pc:chgData name="Pauline Smout" userId="3153cd80-1eee-4546-abae-f15e9d00b721" providerId="ADAL" clId="{81C8F9D0-96F1-4272-A5C3-631DBA14B790}" dt="2022-12-12T12:21:31.943" v="40" actId="47"/>
        <pc:sldMkLst>
          <pc:docMk/>
          <pc:sldMk cId="22362945" sldId="291"/>
        </pc:sldMkLst>
        <pc:spChg chg="mod">
          <ac:chgData name="Pauline Smout" userId="3153cd80-1eee-4546-abae-f15e9d00b721" providerId="ADAL" clId="{81C8F9D0-96F1-4272-A5C3-631DBA14B790}" dt="2022-12-12T12:20:45.171" v="38"/>
          <ac:spMkLst>
            <pc:docMk/>
            <pc:sldMk cId="22362945" sldId="291"/>
            <ac:spMk id="2" creationId="{5C5772BA-7EF3-D03F-41AB-52C406403621}"/>
          </ac:spMkLst>
        </pc:spChg>
        <pc:picChg chg="mod">
          <ac:chgData name="Pauline Smout" userId="3153cd80-1eee-4546-abae-f15e9d00b721" providerId="ADAL" clId="{81C8F9D0-96F1-4272-A5C3-631DBA14B790}" dt="2022-12-12T12:20:45.171" v="38"/>
          <ac:picMkLst>
            <pc:docMk/>
            <pc:sldMk cId="22362945" sldId="291"/>
            <ac:picMk id="3" creationId="{B2802897-04A1-94E7-DD66-DC492EA12025}"/>
          </ac:picMkLst>
        </pc:picChg>
      </pc:sldChg>
      <pc:sldChg chg="modSp add del mod">
        <pc:chgData name="Pauline Smout" userId="3153cd80-1eee-4546-abae-f15e9d00b721" providerId="ADAL" clId="{81C8F9D0-96F1-4272-A5C3-631DBA14B790}" dt="2022-12-12T12:21:31.943" v="40" actId="47"/>
        <pc:sldMkLst>
          <pc:docMk/>
          <pc:sldMk cId="3412079129" sldId="292"/>
        </pc:sldMkLst>
        <pc:spChg chg="mod">
          <ac:chgData name="Pauline Smout" userId="3153cd80-1eee-4546-abae-f15e9d00b721" providerId="ADAL" clId="{81C8F9D0-96F1-4272-A5C3-631DBA14B790}" dt="2022-12-12T12:20:45.171" v="38"/>
          <ac:spMkLst>
            <pc:docMk/>
            <pc:sldMk cId="3412079129" sldId="292"/>
            <ac:spMk id="2" creationId="{A823F5EF-3028-B40D-13E7-1D1DB5B6C72D}"/>
          </ac:spMkLst>
        </pc:spChg>
        <pc:spChg chg="mod">
          <ac:chgData name="Pauline Smout" userId="3153cd80-1eee-4546-abae-f15e9d00b721" providerId="ADAL" clId="{81C8F9D0-96F1-4272-A5C3-631DBA14B790}" dt="2022-12-12T12:20:45.171" v="38"/>
          <ac:spMkLst>
            <pc:docMk/>
            <pc:sldMk cId="3412079129" sldId="292"/>
            <ac:spMk id="3" creationId="{32DEB93B-4E1D-9F76-82C0-40CEE9FFB127}"/>
          </ac:spMkLst>
        </pc:spChg>
        <pc:picChg chg="mod">
          <ac:chgData name="Pauline Smout" userId="3153cd80-1eee-4546-abae-f15e9d00b721" providerId="ADAL" clId="{81C8F9D0-96F1-4272-A5C3-631DBA14B790}" dt="2022-12-12T12:20:45.171" v="38"/>
          <ac:picMkLst>
            <pc:docMk/>
            <pc:sldMk cId="3412079129" sldId="292"/>
            <ac:picMk id="4" creationId="{3585E2C9-9F44-C574-C5AC-E213EE28F4F2}"/>
          </ac:picMkLst>
        </pc:picChg>
      </pc:sldChg>
      <pc:sldChg chg="modSp add del mod">
        <pc:chgData name="Pauline Smout" userId="3153cd80-1eee-4546-abae-f15e9d00b721" providerId="ADAL" clId="{81C8F9D0-96F1-4272-A5C3-631DBA14B790}" dt="2022-12-12T12:21:31.943" v="40" actId="47"/>
        <pc:sldMkLst>
          <pc:docMk/>
          <pc:sldMk cId="580530288" sldId="293"/>
        </pc:sldMkLst>
        <pc:spChg chg="mod">
          <ac:chgData name="Pauline Smout" userId="3153cd80-1eee-4546-abae-f15e9d00b721" providerId="ADAL" clId="{81C8F9D0-96F1-4272-A5C3-631DBA14B790}" dt="2022-12-12T12:20:45.171" v="38"/>
          <ac:spMkLst>
            <pc:docMk/>
            <pc:sldMk cId="580530288" sldId="293"/>
            <ac:spMk id="2" creationId="{C6DFE711-4EE6-4299-9CFA-EFAAB178ECEF}"/>
          </ac:spMkLst>
        </pc:spChg>
        <pc:spChg chg="mod">
          <ac:chgData name="Pauline Smout" userId="3153cd80-1eee-4546-abae-f15e9d00b721" providerId="ADAL" clId="{81C8F9D0-96F1-4272-A5C3-631DBA14B790}" dt="2022-12-12T12:20:45.171" v="38"/>
          <ac:spMkLst>
            <pc:docMk/>
            <pc:sldMk cId="580530288" sldId="293"/>
            <ac:spMk id="9" creationId="{0227DF8E-59C5-7E54-57D9-1710DBDA5661}"/>
          </ac:spMkLst>
        </pc:spChg>
        <pc:spChg chg="mod">
          <ac:chgData name="Pauline Smout" userId="3153cd80-1eee-4546-abae-f15e9d00b721" providerId="ADAL" clId="{81C8F9D0-96F1-4272-A5C3-631DBA14B790}" dt="2022-12-12T12:20:45.171" v="38"/>
          <ac:spMkLst>
            <pc:docMk/>
            <pc:sldMk cId="580530288" sldId="293"/>
            <ac:spMk id="10" creationId="{30C17366-4F96-4A56-A34E-314109BB1293}"/>
          </ac:spMkLst>
        </pc:spChg>
        <pc:graphicFrameChg chg="mod">
          <ac:chgData name="Pauline Smout" userId="3153cd80-1eee-4546-abae-f15e9d00b721" providerId="ADAL" clId="{81C8F9D0-96F1-4272-A5C3-631DBA14B790}" dt="2022-12-12T12:20:45.171" v="38"/>
          <ac:graphicFrameMkLst>
            <pc:docMk/>
            <pc:sldMk cId="580530288" sldId="293"/>
            <ac:graphicFrameMk id="7" creationId="{35862131-4C1A-05A9-5C66-D86B21F7B419}"/>
          </ac:graphicFrameMkLst>
        </pc:graphicFrameChg>
        <pc:picChg chg="mod">
          <ac:chgData name="Pauline Smout" userId="3153cd80-1eee-4546-abae-f15e9d00b721" providerId="ADAL" clId="{81C8F9D0-96F1-4272-A5C3-631DBA14B790}" dt="2022-12-12T12:20:45.171" v="38"/>
          <ac:picMkLst>
            <pc:docMk/>
            <pc:sldMk cId="580530288" sldId="293"/>
            <ac:picMk id="8" creationId="{DF693B9B-669F-4DE7-A1A4-212203B347C6}"/>
          </ac:picMkLst>
        </pc:picChg>
      </pc:sldChg>
      <pc:sldChg chg="new del">
        <pc:chgData name="Pauline Smout" userId="3153cd80-1eee-4546-abae-f15e9d00b721" providerId="ADAL" clId="{81C8F9D0-96F1-4272-A5C3-631DBA14B790}" dt="2022-12-12T12:15:41.845" v="9" actId="47"/>
        <pc:sldMkLst>
          <pc:docMk/>
          <pc:sldMk cId="336197712" sldId="294"/>
        </pc:sldMkLst>
      </pc:sldChg>
      <pc:sldChg chg="new del">
        <pc:chgData name="Pauline Smout" userId="3153cd80-1eee-4546-abae-f15e9d00b721" providerId="ADAL" clId="{81C8F9D0-96F1-4272-A5C3-631DBA14B790}" dt="2022-12-12T12:14:50.465" v="4" actId="680"/>
        <pc:sldMkLst>
          <pc:docMk/>
          <pc:sldMk cId="584908266" sldId="294"/>
        </pc:sldMkLst>
      </pc:sldChg>
      <pc:sldChg chg="modSp add del mod">
        <pc:chgData name="Pauline Smout" userId="3153cd80-1eee-4546-abae-f15e9d00b721" providerId="ADAL" clId="{81C8F9D0-96F1-4272-A5C3-631DBA14B790}" dt="2022-12-12T12:36:37.937" v="249" actId="47"/>
        <pc:sldMkLst>
          <pc:docMk/>
          <pc:sldMk cId="1614420784" sldId="294"/>
        </pc:sldMkLst>
        <pc:spChg chg="mod">
          <ac:chgData name="Pauline Smout" userId="3153cd80-1eee-4546-abae-f15e9d00b721" providerId="ADAL" clId="{81C8F9D0-96F1-4272-A5C3-631DBA14B790}" dt="2022-12-12T12:28:30.731" v="116" actId="20577"/>
          <ac:spMkLst>
            <pc:docMk/>
            <pc:sldMk cId="1614420784" sldId="294"/>
            <ac:spMk id="2" creationId="{07B8BE0D-F277-8F99-551A-BAFDC0A71460}"/>
          </ac:spMkLst>
        </pc:spChg>
      </pc:sldChg>
      <pc:sldChg chg="addSp delSp modSp new mod ord">
        <pc:chgData name="Pauline Smout" userId="3153cd80-1eee-4546-abae-f15e9d00b721" providerId="ADAL" clId="{81C8F9D0-96F1-4272-A5C3-631DBA14B790}" dt="2022-12-12T12:50:14.980" v="940" actId="14100"/>
        <pc:sldMkLst>
          <pc:docMk/>
          <pc:sldMk cId="2464049271" sldId="295"/>
        </pc:sldMkLst>
        <pc:spChg chg="mod">
          <ac:chgData name="Pauline Smout" userId="3153cd80-1eee-4546-abae-f15e9d00b721" providerId="ADAL" clId="{81C8F9D0-96F1-4272-A5C3-631DBA14B790}" dt="2022-12-12T12:33:21.046" v="148" actId="108"/>
          <ac:spMkLst>
            <pc:docMk/>
            <pc:sldMk cId="2464049271" sldId="295"/>
            <ac:spMk id="2" creationId="{78B9794B-86DF-B2B9-4B9A-8A393DB40B9D}"/>
          </ac:spMkLst>
        </pc:spChg>
        <pc:spChg chg="add mod">
          <ac:chgData name="Pauline Smout" userId="3153cd80-1eee-4546-abae-f15e9d00b721" providerId="ADAL" clId="{81C8F9D0-96F1-4272-A5C3-631DBA14B790}" dt="2022-12-12T12:49:59.073" v="933" actId="1035"/>
          <ac:spMkLst>
            <pc:docMk/>
            <pc:sldMk cId="2464049271" sldId="295"/>
            <ac:spMk id="3" creationId="{8EDECE36-CF72-E157-044B-C22517EF5C91}"/>
          </ac:spMkLst>
        </pc:spChg>
        <pc:spChg chg="add del mod">
          <ac:chgData name="Pauline Smout" userId="3153cd80-1eee-4546-abae-f15e9d00b721" providerId="ADAL" clId="{81C8F9D0-96F1-4272-A5C3-631DBA14B790}" dt="2022-12-12T12:33:08.762" v="146" actId="478"/>
          <ac:spMkLst>
            <pc:docMk/>
            <pc:sldMk cId="2464049271" sldId="295"/>
            <ac:spMk id="4" creationId="{ED3194F5-B383-CCCA-7376-78C607BE63A5}"/>
          </ac:spMkLst>
        </pc:spChg>
        <pc:spChg chg="add mod">
          <ac:chgData name="Pauline Smout" userId="3153cd80-1eee-4546-abae-f15e9d00b721" providerId="ADAL" clId="{81C8F9D0-96F1-4272-A5C3-631DBA14B790}" dt="2022-12-12T12:49:59.073" v="933" actId="1035"/>
          <ac:spMkLst>
            <pc:docMk/>
            <pc:sldMk cId="2464049271" sldId="295"/>
            <ac:spMk id="5" creationId="{AE65E11B-E400-D9F2-10F7-8A4C6F125520}"/>
          </ac:spMkLst>
        </pc:spChg>
        <pc:spChg chg="add mod">
          <ac:chgData name="Pauline Smout" userId="3153cd80-1eee-4546-abae-f15e9d00b721" providerId="ADAL" clId="{81C8F9D0-96F1-4272-A5C3-631DBA14B790}" dt="2022-12-12T12:49:59.073" v="933" actId="1035"/>
          <ac:spMkLst>
            <pc:docMk/>
            <pc:sldMk cId="2464049271" sldId="295"/>
            <ac:spMk id="6" creationId="{736F972D-5E48-9564-BF7C-13EBC47A933E}"/>
          </ac:spMkLst>
        </pc:spChg>
        <pc:spChg chg="add mod">
          <ac:chgData name="Pauline Smout" userId="3153cd80-1eee-4546-abae-f15e9d00b721" providerId="ADAL" clId="{81C8F9D0-96F1-4272-A5C3-631DBA14B790}" dt="2022-12-12T12:49:59.073" v="933" actId="1035"/>
          <ac:spMkLst>
            <pc:docMk/>
            <pc:sldMk cId="2464049271" sldId="295"/>
            <ac:spMk id="7" creationId="{859C7CCB-94EA-A3D7-5555-D83ACEC1656F}"/>
          </ac:spMkLst>
        </pc:spChg>
        <pc:spChg chg="add mod">
          <ac:chgData name="Pauline Smout" userId="3153cd80-1eee-4546-abae-f15e9d00b721" providerId="ADAL" clId="{81C8F9D0-96F1-4272-A5C3-631DBA14B790}" dt="2022-12-12T12:50:05.019" v="938" actId="1036"/>
          <ac:spMkLst>
            <pc:docMk/>
            <pc:sldMk cId="2464049271" sldId="295"/>
            <ac:spMk id="8" creationId="{B0685EF2-81A4-CABF-A5BC-82E04787E280}"/>
          </ac:spMkLst>
        </pc:spChg>
        <pc:spChg chg="add mod">
          <ac:chgData name="Pauline Smout" userId="3153cd80-1eee-4546-abae-f15e9d00b721" providerId="ADAL" clId="{81C8F9D0-96F1-4272-A5C3-631DBA14B790}" dt="2022-12-12T12:50:14.980" v="940" actId="14100"/>
          <ac:spMkLst>
            <pc:docMk/>
            <pc:sldMk cId="2464049271" sldId="295"/>
            <ac:spMk id="9" creationId="{3D588E30-0DA7-AF72-9B33-7A818C3FB181}"/>
          </ac:spMkLst>
        </pc:spChg>
      </pc:sldChg>
      <pc:sldChg chg="addSp delSp modSp add del mod">
        <pc:chgData name="Pauline Smout" userId="3153cd80-1eee-4546-abae-f15e9d00b721" providerId="ADAL" clId="{81C8F9D0-96F1-4272-A5C3-631DBA14B790}" dt="2022-12-12T12:25:21.320" v="94" actId="47"/>
        <pc:sldMkLst>
          <pc:docMk/>
          <pc:sldMk cId="646606086" sldId="296"/>
        </pc:sldMkLst>
        <pc:spChg chg="del">
          <ac:chgData name="Pauline Smout" userId="3153cd80-1eee-4546-abae-f15e9d00b721" providerId="ADAL" clId="{81C8F9D0-96F1-4272-A5C3-631DBA14B790}" dt="2022-12-12T12:23:50.454" v="52" actId="478"/>
          <ac:spMkLst>
            <pc:docMk/>
            <pc:sldMk cId="646606086" sldId="296"/>
            <ac:spMk id="3" creationId="{8EDECE36-CF72-E157-044B-C22517EF5C91}"/>
          </ac:spMkLst>
        </pc:spChg>
        <pc:spChg chg="add del mod">
          <ac:chgData name="Pauline Smout" userId="3153cd80-1eee-4546-abae-f15e9d00b721" providerId="ADAL" clId="{81C8F9D0-96F1-4272-A5C3-631DBA14B790}" dt="2022-12-12T12:23:59.580" v="56"/>
          <ac:spMkLst>
            <pc:docMk/>
            <pc:sldMk cId="646606086" sldId="296"/>
            <ac:spMk id="4" creationId="{940729A9-97BD-7176-B81B-BA17DF275254}"/>
          </ac:spMkLst>
        </pc:spChg>
        <pc:spChg chg="add del mod">
          <ac:chgData name="Pauline Smout" userId="3153cd80-1eee-4546-abae-f15e9d00b721" providerId="ADAL" clId="{81C8F9D0-96F1-4272-A5C3-631DBA14B790}" dt="2022-12-12T12:23:59.580" v="56"/>
          <ac:spMkLst>
            <pc:docMk/>
            <pc:sldMk cId="646606086" sldId="296"/>
            <ac:spMk id="5" creationId="{14F497D6-2939-AF1D-C2EA-548E59854A75}"/>
          </ac:spMkLst>
        </pc:spChg>
        <pc:spChg chg="add del mod">
          <ac:chgData name="Pauline Smout" userId="3153cd80-1eee-4546-abae-f15e9d00b721" providerId="ADAL" clId="{81C8F9D0-96F1-4272-A5C3-631DBA14B790}" dt="2022-12-12T12:23:59.580" v="56"/>
          <ac:spMkLst>
            <pc:docMk/>
            <pc:sldMk cId="646606086" sldId="296"/>
            <ac:spMk id="6" creationId="{D299F8CB-5264-A9C6-A0EE-EEBE504CFFC4}"/>
          </ac:spMkLst>
        </pc:spChg>
        <pc:spChg chg="add del mod">
          <ac:chgData name="Pauline Smout" userId="3153cd80-1eee-4546-abae-f15e9d00b721" providerId="ADAL" clId="{81C8F9D0-96F1-4272-A5C3-631DBA14B790}" dt="2022-12-12T12:23:59.580" v="56"/>
          <ac:spMkLst>
            <pc:docMk/>
            <pc:sldMk cId="646606086" sldId="296"/>
            <ac:spMk id="7" creationId="{62271276-29E4-C418-626E-0C4D69CE97DF}"/>
          </ac:spMkLst>
        </pc:spChg>
        <pc:spChg chg="mod">
          <ac:chgData name="Pauline Smout" userId="3153cd80-1eee-4546-abae-f15e9d00b721" providerId="ADAL" clId="{81C8F9D0-96F1-4272-A5C3-631DBA14B790}" dt="2022-12-12T12:23:51.887" v="53"/>
          <ac:spMkLst>
            <pc:docMk/>
            <pc:sldMk cId="646606086" sldId="296"/>
            <ac:spMk id="9" creationId="{D6D5D470-6C27-952D-ED5B-092C3066F2F7}"/>
          </ac:spMkLst>
        </pc:spChg>
        <pc:spChg chg="mod">
          <ac:chgData name="Pauline Smout" userId="3153cd80-1eee-4546-abae-f15e9d00b721" providerId="ADAL" clId="{81C8F9D0-96F1-4272-A5C3-631DBA14B790}" dt="2022-12-12T12:23:51.887" v="53"/>
          <ac:spMkLst>
            <pc:docMk/>
            <pc:sldMk cId="646606086" sldId="296"/>
            <ac:spMk id="10" creationId="{AAF4DF09-4724-B0A0-F90E-24A79CA2C202}"/>
          </ac:spMkLst>
        </pc:spChg>
        <pc:spChg chg="add del mod">
          <ac:chgData name="Pauline Smout" userId="3153cd80-1eee-4546-abae-f15e9d00b721" providerId="ADAL" clId="{81C8F9D0-96F1-4272-A5C3-631DBA14B790}" dt="2022-12-12T12:23:59.580" v="56"/>
          <ac:spMkLst>
            <pc:docMk/>
            <pc:sldMk cId="646606086" sldId="296"/>
            <ac:spMk id="11" creationId="{FCDAEDA3-6348-07C0-197D-8F947A8DD391}"/>
          </ac:spMkLst>
        </pc:spChg>
        <pc:spChg chg="add del mod">
          <ac:chgData name="Pauline Smout" userId="3153cd80-1eee-4546-abae-f15e9d00b721" providerId="ADAL" clId="{81C8F9D0-96F1-4272-A5C3-631DBA14B790}" dt="2022-12-12T12:23:59.580" v="56"/>
          <ac:spMkLst>
            <pc:docMk/>
            <pc:sldMk cId="646606086" sldId="296"/>
            <ac:spMk id="12" creationId="{2A89D49F-42C7-DFF5-CB2F-7CB0B7742337}"/>
          </ac:spMkLst>
        </pc:spChg>
        <pc:spChg chg="add del mod">
          <ac:chgData name="Pauline Smout" userId="3153cd80-1eee-4546-abae-f15e9d00b721" providerId="ADAL" clId="{81C8F9D0-96F1-4272-A5C3-631DBA14B790}" dt="2022-12-12T12:23:59.580" v="56"/>
          <ac:spMkLst>
            <pc:docMk/>
            <pc:sldMk cId="646606086" sldId="296"/>
            <ac:spMk id="13" creationId="{309B9987-C1FB-4F59-8E42-1DC07FAEA964}"/>
          </ac:spMkLst>
        </pc:spChg>
        <pc:spChg chg="add del mod">
          <ac:chgData name="Pauline Smout" userId="3153cd80-1eee-4546-abae-f15e9d00b721" providerId="ADAL" clId="{81C8F9D0-96F1-4272-A5C3-631DBA14B790}" dt="2022-12-12T12:23:59.580" v="56"/>
          <ac:spMkLst>
            <pc:docMk/>
            <pc:sldMk cId="646606086" sldId="296"/>
            <ac:spMk id="14" creationId="{2B8E378C-5EE5-AC78-9F50-D11163A344E8}"/>
          </ac:spMkLst>
        </pc:spChg>
        <pc:spChg chg="add del mod">
          <ac:chgData name="Pauline Smout" userId="3153cd80-1eee-4546-abae-f15e9d00b721" providerId="ADAL" clId="{81C8F9D0-96F1-4272-A5C3-631DBA14B790}" dt="2022-12-12T12:23:59.580" v="56"/>
          <ac:spMkLst>
            <pc:docMk/>
            <pc:sldMk cId="646606086" sldId="296"/>
            <ac:spMk id="15" creationId="{3738F57C-CF51-8083-BE67-46727CBE0462}"/>
          </ac:spMkLst>
        </pc:spChg>
        <pc:spChg chg="add del mod">
          <ac:chgData name="Pauline Smout" userId="3153cd80-1eee-4546-abae-f15e9d00b721" providerId="ADAL" clId="{81C8F9D0-96F1-4272-A5C3-631DBA14B790}" dt="2022-12-12T12:23:59.580" v="56"/>
          <ac:spMkLst>
            <pc:docMk/>
            <pc:sldMk cId="646606086" sldId="296"/>
            <ac:spMk id="16" creationId="{300E0789-8DF4-0C2C-D7BF-32EDABC7061A}"/>
          </ac:spMkLst>
        </pc:spChg>
        <pc:spChg chg="add del mod">
          <ac:chgData name="Pauline Smout" userId="3153cd80-1eee-4546-abae-f15e9d00b721" providerId="ADAL" clId="{81C8F9D0-96F1-4272-A5C3-631DBA14B790}" dt="2022-12-12T12:23:59.580" v="56"/>
          <ac:spMkLst>
            <pc:docMk/>
            <pc:sldMk cId="646606086" sldId="296"/>
            <ac:spMk id="17" creationId="{E0B1EBE8-C0BA-3F49-3C43-138BF2B13934}"/>
          </ac:spMkLst>
        </pc:spChg>
        <pc:spChg chg="add del mod">
          <ac:chgData name="Pauline Smout" userId="3153cd80-1eee-4546-abae-f15e9d00b721" providerId="ADAL" clId="{81C8F9D0-96F1-4272-A5C3-631DBA14B790}" dt="2022-12-12T12:23:59.580" v="56"/>
          <ac:spMkLst>
            <pc:docMk/>
            <pc:sldMk cId="646606086" sldId="296"/>
            <ac:spMk id="18" creationId="{83DC3E59-C4F6-3393-467A-64442FF9816F}"/>
          </ac:spMkLst>
        </pc:spChg>
        <pc:spChg chg="add del mod">
          <ac:chgData name="Pauline Smout" userId="3153cd80-1eee-4546-abae-f15e9d00b721" providerId="ADAL" clId="{81C8F9D0-96F1-4272-A5C3-631DBA14B790}" dt="2022-12-12T12:23:59.580" v="56"/>
          <ac:spMkLst>
            <pc:docMk/>
            <pc:sldMk cId="646606086" sldId="296"/>
            <ac:spMk id="19" creationId="{2F3835C5-D80E-41E5-4A52-F93037A37C34}"/>
          </ac:spMkLst>
        </pc:spChg>
        <pc:spChg chg="add del mod">
          <ac:chgData name="Pauline Smout" userId="3153cd80-1eee-4546-abae-f15e9d00b721" providerId="ADAL" clId="{81C8F9D0-96F1-4272-A5C3-631DBA14B790}" dt="2022-12-12T12:23:59.580" v="56"/>
          <ac:spMkLst>
            <pc:docMk/>
            <pc:sldMk cId="646606086" sldId="296"/>
            <ac:spMk id="20" creationId="{6C174832-060E-B025-10A2-1D9A331AA1E6}"/>
          </ac:spMkLst>
        </pc:spChg>
        <pc:spChg chg="add del mod">
          <ac:chgData name="Pauline Smout" userId="3153cd80-1eee-4546-abae-f15e9d00b721" providerId="ADAL" clId="{81C8F9D0-96F1-4272-A5C3-631DBA14B790}" dt="2022-12-12T12:23:59.580" v="56"/>
          <ac:spMkLst>
            <pc:docMk/>
            <pc:sldMk cId="646606086" sldId="296"/>
            <ac:spMk id="21" creationId="{DD7E431A-D041-E2CA-54AE-D51FA79CD85F}"/>
          </ac:spMkLst>
        </pc:spChg>
        <pc:spChg chg="add del mod">
          <ac:chgData name="Pauline Smout" userId="3153cd80-1eee-4546-abae-f15e9d00b721" providerId="ADAL" clId="{81C8F9D0-96F1-4272-A5C3-631DBA14B790}" dt="2022-12-12T12:23:59.580" v="56"/>
          <ac:spMkLst>
            <pc:docMk/>
            <pc:sldMk cId="646606086" sldId="296"/>
            <ac:spMk id="22" creationId="{5C87E5F5-BEB8-0EC3-4616-561155E0BD00}"/>
          </ac:spMkLst>
        </pc:spChg>
        <pc:spChg chg="add del mod">
          <ac:chgData name="Pauline Smout" userId="3153cd80-1eee-4546-abae-f15e9d00b721" providerId="ADAL" clId="{81C8F9D0-96F1-4272-A5C3-631DBA14B790}" dt="2022-12-12T12:23:59.580" v="56"/>
          <ac:spMkLst>
            <pc:docMk/>
            <pc:sldMk cId="646606086" sldId="296"/>
            <ac:spMk id="23" creationId="{CBBCE144-B4BE-BAA4-1B81-A16770924D06}"/>
          </ac:spMkLst>
        </pc:spChg>
        <pc:spChg chg="add del mod">
          <ac:chgData name="Pauline Smout" userId="3153cd80-1eee-4546-abae-f15e9d00b721" providerId="ADAL" clId="{81C8F9D0-96F1-4272-A5C3-631DBA14B790}" dt="2022-12-12T12:23:59.580" v="56"/>
          <ac:spMkLst>
            <pc:docMk/>
            <pc:sldMk cId="646606086" sldId="296"/>
            <ac:spMk id="24" creationId="{7DF02EA7-0F0F-96DB-EF79-4B754AA40F3D}"/>
          </ac:spMkLst>
        </pc:spChg>
        <pc:spChg chg="add del mod">
          <ac:chgData name="Pauline Smout" userId="3153cd80-1eee-4546-abae-f15e9d00b721" providerId="ADAL" clId="{81C8F9D0-96F1-4272-A5C3-631DBA14B790}" dt="2022-12-12T12:23:59.580" v="56"/>
          <ac:spMkLst>
            <pc:docMk/>
            <pc:sldMk cId="646606086" sldId="296"/>
            <ac:spMk id="25" creationId="{C86675D6-0A9E-2084-A0E1-3676DC594E54}"/>
          </ac:spMkLst>
        </pc:spChg>
        <pc:spChg chg="add del mod">
          <ac:chgData name="Pauline Smout" userId="3153cd80-1eee-4546-abae-f15e9d00b721" providerId="ADAL" clId="{81C8F9D0-96F1-4272-A5C3-631DBA14B790}" dt="2022-12-12T12:23:59.580" v="56"/>
          <ac:spMkLst>
            <pc:docMk/>
            <pc:sldMk cId="646606086" sldId="296"/>
            <ac:spMk id="26" creationId="{AE9BAAE9-FFEF-1BCF-C1D5-4E8544BC10AD}"/>
          </ac:spMkLst>
        </pc:spChg>
        <pc:spChg chg="add del mod">
          <ac:chgData name="Pauline Smout" userId="3153cd80-1eee-4546-abae-f15e9d00b721" providerId="ADAL" clId="{81C8F9D0-96F1-4272-A5C3-631DBA14B790}" dt="2022-12-12T12:23:59.580" v="56"/>
          <ac:spMkLst>
            <pc:docMk/>
            <pc:sldMk cId="646606086" sldId="296"/>
            <ac:spMk id="27" creationId="{AECFA873-12BA-688D-A6A2-9E8B503430C2}"/>
          </ac:spMkLst>
        </pc:spChg>
        <pc:spChg chg="add del mod">
          <ac:chgData name="Pauline Smout" userId="3153cd80-1eee-4546-abae-f15e9d00b721" providerId="ADAL" clId="{81C8F9D0-96F1-4272-A5C3-631DBA14B790}" dt="2022-12-12T12:23:59.580" v="56"/>
          <ac:spMkLst>
            <pc:docMk/>
            <pc:sldMk cId="646606086" sldId="296"/>
            <ac:spMk id="28" creationId="{5C28BC1F-BFEC-756A-15FC-BEDC8A8E80C8}"/>
          </ac:spMkLst>
        </pc:spChg>
        <pc:spChg chg="add del mod">
          <ac:chgData name="Pauline Smout" userId="3153cd80-1eee-4546-abae-f15e9d00b721" providerId="ADAL" clId="{81C8F9D0-96F1-4272-A5C3-631DBA14B790}" dt="2022-12-12T12:23:59.580" v="56"/>
          <ac:spMkLst>
            <pc:docMk/>
            <pc:sldMk cId="646606086" sldId="296"/>
            <ac:spMk id="29" creationId="{6E860409-3A63-1B89-C239-00BCB504E3F7}"/>
          </ac:spMkLst>
        </pc:spChg>
        <pc:spChg chg="add del mod">
          <ac:chgData name="Pauline Smout" userId="3153cd80-1eee-4546-abae-f15e9d00b721" providerId="ADAL" clId="{81C8F9D0-96F1-4272-A5C3-631DBA14B790}" dt="2022-12-12T12:23:59.580" v="56"/>
          <ac:spMkLst>
            <pc:docMk/>
            <pc:sldMk cId="646606086" sldId="296"/>
            <ac:spMk id="30" creationId="{22C25555-AB0A-A695-D921-393800907FD5}"/>
          </ac:spMkLst>
        </pc:spChg>
        <pc:spChg chg="add del mod">
          <ac:chgData name="Pauline Smout" userId="3153cd80-1eee-4546-abae-f15e9d00b721" providerId="ADAL" clId="{81C8F9D0-96F1-4272-A5C3-631DBA14B790}" dt="2022-12-12T12:23:59.580" v="56"/>
          <ac:spMkLst>
            <pc:docMk/>
            <pc:sldMk cId="646606086" sldId="296"/>
            <ac:spMk id="31" creationId="{E498D070-CED1-53EB-8BB5-3CBB776F9467}"/>
          </ac:spMkLst>
        </pc:spChg>
        <pc:spChg chg="add del mod">
          <ac:chgData name="Pauline Smout" userId="3153cd80-1eee-4546-abae-f15e9d00b721" providerId="ADAL" clId="{81C8F9D0-96F1-4272-A5C3-631DBA14B790}" dt="2022-12-12T12:23:59.580" v="56"/>
          <ac:spMkLst>
            <pc:docMk/>
            <pc:sldMk cId="646606086" sldId="296"/>
            <ac:spMk id="32" creationId="{89F4F951-5DF1-9E5C-1CAB-69DDE3239165}"/>
          </ac:spMkLst>
        </pc:spChg>
        <pc:spChg chg="add del mod">
          <ac:chgData name="Pauline Smout" userId="3153cd80-1eee-4546-abae-f15e9d00b721" providerId="ADAL" clId="{81C8F9D0-96F1-4272-A5C3-631DBA14B790}" dt="2022-12-12T12:23:59.580" v="56"/>
          <ac:spMkLst>
            <pc:docMk/>
            <pc:sldMk cId="646606086" sldId="296"/>
            <ac:spMk id="33" creationId="{D5A2013D-CE45-3635-7ECE-04D52DA334F5}"/>
          </ac:spMkLst>
        </pc:spChg>
        <pc:spChg chg="add del mod">
          <ac:chgData name="Pauline Smout" userId="3153cd80-1eee-4546-abae-f15e9d00b721" providerId="ADAL" clId="{81C8F9D0-96F1-4272-A5C3-631DBA14B790}" dt="2022-12-12T12:23:59.580" v="56"/>
          <ac:spMkLst>
            <pc:docMk/>
            <pc:sldMk cId="646606086" sldId="296"/>
            <ac:spMk id="34" creationId="{CC368592-ABD2-92A6-3012-9B3FBAA6AB6A}"/>
          </ac:spMkLst>
        </pc:spChg>
        <pc:spChg chg="add del mod">
          <ac:chgData name="Pauline Smout" userId="3153cd80-1eee-4546-abae-f15e9d00b721" providerId="ADAL" clId="{81C8F9D0-96F1-4272-A5C3-631DBA14B790}" dt="2022-12-12T12:23:59.580" v="56"/>
          <ac:spMkLst>
            <pc:docMk/>
            <pc:sldMk cId="646606086" sldId="296"/>
            <ac:spMk id="35" creationId="{6BEC8C59-8109-A632-2845-B4358904DB37}"/>
          </ac:spMkLst>
        </pc:spChg>
        <pc:spChg chg="add del mod">
          <ac:chgData name="Pauline Smout" userId="3153cd80-1eee-4546-abae-f15e9d00b721" providerId="ADAL" clId="{81C8F9D0-96F1-4272-A5C3-631DBA14B790}" dt="2022-12-12T12:23:59.580" v="56"/>
          <ac:spMkLst>
            <pc:docMk/>
            <pc:sldMk cId="646606086" sldId="296"/>
            <ac:spMk id="36" creationId="{34B11868-4D35-327C-87F8-2C38D0FDBB86}"/>
          </ac:spMkLst>
        </pc:spChg>
        <pc:spChg chg="add del mod">
          <ac:chgData name="Pauline Smout" userId="3153cd80-1eee-4546-abae-f15e9d00b721" providerId="ADAL" clId="{81C8F9D0-96F1-4272-A5C3-631DBA14B790}" dt="2022-12-12T12:23:59.580" v="56"/>
          <ac:spMkLst>
            <pc:docMk/>
            <pc:sldMk cId="646606086" sldId="296"/>
            <ac:spMk id="37" creationId="{6614CB37-FA92-7F88-A91D-8D35BF921056}"/>
          </ac:spMkLst>
        </pc:spChg>
        <pc:spChg chg="add del mod">
          <ac:chgData name="Pauline Smout" userId="3153cd80-1eee-4546-abae-f15e9d00b721" providerId="ADAL" clId="{81C8F9D0-96F1-4272-A5C3-631DBA14B790}" dt="2022-12-12T12:23:59.580" v="56"/>
          <ac:spMkLst>
            <pc:docMk/>
            <pc:sldMk cId="646606086" sldId="296"/>
            <ac:spMk id="38" creationId="{EC177E1F-57FE-38BA-10E9-C7DE4DCEAF06}"/>
          </ac:spMkLst>
        </pc:spChg>
        <pc:spChg chg="add del mod">
          <ac:chgData name="Pauline Smout" userId="3153cd80-1eee-4546-abae-f15e9d00b721" providerId="ADAL" clId="{81C8F9D0-96F1-4272-A5C3-631DBA14B790}" dt="2022-12-12T12:23:59.580" v="56"/>
          <ac:spMkLst>
            <pc:docMk/>
            <pc:sldMk cId="646606086" sldId="296"/>
            <ac:spMk id="39" creationId="{4738FF7C-73F4-C271-FE30-5A3219B6AF95}"/>
          </ac:spMkLst>
        </pc:spChg>
        <pc:spChg chg="add del mod">
          <ac:chgData name="Pauline Smout" userId="3153cd80-1eee-4546-abae-f15e9d00b721" providerId="ADAL" clId="{81C8F9D0-96F1-4272-A5C3-631DBA14B790}" dt="2022-12-12T12:23:59.580" v="56"/>
          <ac:spMkLst>
            <pc:docMk/>
            <pc:sldMk cId="646606086" sldId="296"/>
            <ac:spMk id="40" creationId="{ED9F291C-2744-F497-D5CA-3E8877460D1C}"/>
          </ac:spMkLst>
        </pc:spChg>
        <pc:spChg chg="add del mod">
          <ac:chgData name="Pauline Smout" userId="3153cd80-1eee-4546-abae-f15e9d00b721" providerId="ADAL" clId="{81C8F9D0-96F1-4272-A5C3-631DBA14B790}" dt="2022-12-12T12:23:59.580" v="56"/>
          <ac:spMkLst>
            <pc:docMk/>
            <pc:sldMk cId="646606086" sldId="296"/>
            <ac:spMk id="41" creationId="{9F682386-AA6B-7088-115B-8ACDB355F73A}"/>
          </ac:spMkLst>
        </pc:spChg>
        <pc:spChg chg="add del mod">
          <ac:chgData name="Pauline Smout" userId="3153cd80-1eee-4546-abae-f15e9d00b721" providerId="ADAL" clId="{81C8F9D0-96F1-4272-A5C3-631DBA14B790}" dt="2022-12-12T12:23:59.580" v="56"/>
          <ac:spMkLst>
            <pc:docMk/>
            <pc:sldMk cId="646606086" sldId="296"/>
            <ac:spMk id="42" creationId="{E11E09E3-D15F-3D87-3A79-2D1C6C287B4E}"/>
          </ac:spMkLst>
        </pc:spChg>
        <pc:spChg chg="add del mod">
          <ac:chgData name="Pauline Smout" userId="3153cd80-1eee-4546-abae-f15e9d00b721" providerId="ADAL" clId="{81C8F9D0-96F1-4272-A5C3-631DBA14B790}" dt="2022-12-12T12:23:59.580" v="56"/>
          <ac:spMkLst>
            <pc:docMk/>
            <pc:sldMk cId="646606086" sldId="296"/>
            <ac:spMk id="43" creationId="{B088F457-91A0-F263-E535-CC387CF87557}"/>
          </ac:spMkLst>
        </pc:spChg>
        <pc:spChg chg="add del mod">
          <ac:chgData name="Pauline Smout" userId="3153cd80-1eee-4546-abae-f15e9d00b721" providerId="ADAL" clId="{81C8F9D0-96F1-4272-A5C3-631DBA14B790}" dt="2022-12-12T12:23:59.580" v="56"/>
          <ac:spMkLst>
            <pc:docMk/>
            <pc:sldMk cId="646606086" sldId="296"/>
            <ac:spMk id="44" creationId="{B16EAF93-4F8F-699F-A6FB-A6EB64E5C656}"/>
          </ac:spMkLst>
        </pc:spChg>
        <pc:spChg chg="add del mod">
          <ac:chgData name="Pauline Smout" userId="3153cd80-1eee-4546-abae-f15e9d00b721" providerId="ADAL" clId="{81C8F9D0-96F1-4272-A5C3-631DBA14B790}" dt="2022-12-12T12:23:59.580" v="56"/>
          <ac:spMkLst>
            <pc:docMk/>
            <pc:sldMk cId="646606086" sldId="296"/>
            <ac:spMk id="45" creationId="{28360231-80F5-8097-D3C1-F8FE609F8D1D}"/>
          </ac:spMkLst>
        </pc:spChg>
        <pc:spChg chg="add del mod">
          <ac:chgData name="Pauline Smout" userId="3153cd80-1eee-4546-abae-f15e9d00b721" providerId="ADAL" clId="{81C8F9D0-96F1-4272-A5C3-631DBA14B790}" dt="2022-12-12T12:23:59.580" v="56"/>
          <ac:spMkLst>
            <pc:docMk/>
            <pc:sldMk cId="646606086" sldId="296"/>
            <ac:spMk id="46" creationId="{2E273A61-AD3C-D9E9-2220-096FFD618EEE}"/>
          </ac:spMkLst>
        </pc:spChg>
        <pc:spChg chg="add del mod">
          <ac:chgData name="Pauline Smout" userId="3153cd80-1eee-4546-abae-f15e9d00b721" providerId="ADAL" clId="{81C8F9D0-96F1-4272-A5C3-631DBA14B790}" dt="2022-12-12T12:23:59.580" v="56"/>
          <ac:spMkLst>
            <pc:docMk/>
            <pc:sldMk cId="646606086" sldId="296"/>
            <ac:spMk id="47" creationId="{4FE67FBF-3F65-2C27-5980-77FFCE3FD8FF}"/>
          </ac:spMkLst>
        </pc:spChg>
        <pc:spChg chg="add del mod">
          <ac:chgData name="Pauline Smout" userId="3153cd80-1eee-4546-abae-f15e9d00b721" providerId="ADAL" clId="{81C8F9D0-96F1-4272-A5C3-631DBA14B790}" dt="2022-12-12T12:23:59.580" v="56"/>
          <ac:spMkLst>
            <pc:docMk/>
            <pc:sldMk cId="646606086" sldId="296"/>
            <ac:spMk id="48" creationId="{658C4FFD-F50D-2E98-8507-4CFA1F47E1F4}"/>
          </ac:spMkLst>
        </pc:spChg>
        <pc:spChg chg="add del mod">
          <ac:chgData name="Pauline Smout" userId="3153cd80-1eee-4546-abae-f15e9d00b721" providerId="ADAL" clId="{81C8F9D0-96F1-4272-A5C3-631DBA14B790}" dt="2022-12-12T12:23:59.580" v="56"/>
          <ac:spMkLst>
            <pc:docMk/>
            <pc:sldMk cId="646606086" sldId="296"/>
            <ac:spMk id="49" creationId="{FC7F5DF3-9A99-8122-4CFC-F2777B90427B}"/>
          </ac:spMkLst>
        </pc:spChg>
        <pc:spChg chg="add del mod">
          <ac:chgData name="Pauline Smout" userId="3153cd80-1eee-4546-abae-f15e9d00b721" providerId="ADAL" clId="{81C8F9D0-96F1-4272-A5C3-631DBA14B790}" dt="2022-12-12T12:23:59.580" v="56"/>
          <ac:spMkLst>
            <pc:docMk/>
            <pc:sldMk cId="646606086" sldId="296"/>
            <ac:spMk id="50" creationId="{2500F02C-04A2-F538-DEE5-F348774F6918}"/>
          </ac:spMkLst>
        </pc:spChg>
        <pc:spChg chg="add del mod">
          <ac:chgData name="Pauline Smout" userId="3153cd80-1eee-4546-abae-f15e9d00b721" providerId="ADAL" clId="{81C8F9D0-96F1-4272-A5C3-631DBA14B790}" dt="2022-12-12T12:23:59.580" v="56"/>
          <ac:spMkLst>
            <pc:docMk/>
            <pc:sldMk cId="646606086" sldId="296"/>
            <ac:spMk id="51" creationId="{1E1A0A78-D1B2-9CDD-1E67-3A7ADC656480}"/>
          </ac:spMkLst>
        </pc:spChg>
        <pc:spChg chg="add del mod">
          <ac:chgData name="Pauline Smout" userId="3153cd80-1eee-4546-abae-f15e9d00b721" providerId="ADAL" clId="{81C8F9D0-96F1-4272-A5C3-631DBA14B790}" dt="2022-12-12T12:23:59.580" v="56"/>
          <ac:spMkLst>
            <pc:docMk/>
            <pc:sldMk cId="646606086" sldId="296"/>
            <ac:spMk id="52" creationId="{DF4DA88D-BD30-A368-8AE5-A0AFA3C5E529}"/>
          </ac:spMkLst>
        </pc:spChg>
        <pc:spChg chg="add del mod">
          <ac:chgData name="Pauline Smout" userId="3153cd80-1eee-4546-abae-f15e9d00b721" providerId="ADAL" clId="{81C8F9D0-96F1-4272-A5C3-631DBA14B790}" dt="2022-12-12T12:23:59.580" v="56"/>
          <ac:spMkLst>
            <pc:docMk/>
            <pc:sldMk cId="646606086" sldId="296"/>
            <ac:spMk id="53" creationId="{BFA7F741-7B38-EF32-D1E3-45C60128475E}"/>
          </ac:spMkLst>
        </pc:spChg>
        <pc:spChg chg="add del mod">
          <ac:chgData name="Pauline Smout" userId="3153cd80-1eee-4546-abae-f15e9d00b721" providerId="ADAL" clId="{81C8F9D0-96F1-4272-A5C3-631DBA14B790}" dt="2022-12-12T12:23:59.580" v="56"/>
          <ac:spMkLst>
            <pc:docMk/>
            <pc:sldMk cId="646606086" sldId="296"/>
            <ac:spMk id="54" creationId="{F13A8584-0BB0-1336-4BAA-22A23F5842DC}"/>
          </ac:spMkLst>
        </pc:spChg>
        <pc:spChg chg="add del mod">
          <ac:chgData name="Pauline Smout" userId="3153cd80-1eee-4546-abae-f15e9d00b721" providerId="ADAL" clId="{81C8F9D0-96F1-4272-A5C3-631DBA14B790}" dt="2022-12-12T12:23:59.580" v="56"/>
          <ac:spMkLst>
            <pc:docMk/>
            <pc:sldMk cId="646606086" sldId="296"/>
            <ac:spMk id="55" creationId="{E1F6C81D-4F5E-23E7-9895-508C3902D347}"/>
          </ac:spMkLst>
        </pc:spChg>
        <pc:spChg chg="add del mod">
          <ac:chgData name="Pauline Smout" userId="3153cd80-1eee-4546-abae-f15e9d00b721" providerId="ADAL" clId="{81C8F9D0-96F1-4272-A5C3-631DBA14B790}" dt="2022-12-12T12:23:59.580" v="56"/>
          <ac:spMkLst>
            <pc:docMk/>
            <pc:sldMk cId="646606086" sldId="296"/>
            <ac:spMk id="56" creationId="{D0F1625E-955E-25CF-7502-FB9BF84EBA4D}"/>
          </ac:spMkLst>
        </pc:spChg>
        <pc:spChg chg="add del mod">
          <ac:chgData name="Pauline Smout" userId="3153cd80-1eee-4546-abae-f15e9d00b721" providerId="ADAL" clId="{81C8F9D0-96F1-4272-A5C3-631DBA14B790}" dt="2022-12-12T12:24:09.704" v="62"/>
          <ac:spMkLst>
            <pc:docMk/>
            <pc:sldMk cId="646606086" sldId="296"/>
            <ac:spMk id="58" creationId="{DE093DFB-11AE-CB84-B8D7-A38129B7F6BD}"/>
          </ac:spMkLst>
        </pc:spChg>
        <pc:spChg chg="add del mod">
          <ac:chgData name="Pauline Smout" userId="3153cd80-1eee-4546-abae-f15e9d00b721" providerId="ADAL" clId="{81C8F9D0-96F1-4272-A5C3-631DBA14B790}" dt="2022-12-12T12:24:09.704" v="62"/>
          <ac:spMkLst>
            <pc:docMk/>
            <pc:sldMk cId="646606086" sldId="296"/>
            <ac:spMk id="59" creationId="{D0D2FBAD-181E-2AFA-BE0C-8B1F2AB072EC}"/>
          </ac:spMkLst>
        </pc:spChg>
        <pc:spChg chg="add del mod">
          <ac:chgData name="Pauline Smout" userId="3153cd80-1eee-4546-abae-f15e9d00b721" providerId="ADAL" clId="{81C8F9D0-96F1-4272-A5C3-631DBA14B790}" dt="2022-12-12T12:24:09.704" v="62"/>
          <ac:spMkLst>
            <pc:docMk/>
            <pc:sldMk cId="646606086" sldId="296"/>
            <ac:spMk id="60" creationId="{DFFD27F2-9739-924F-749D-37D07E0DFF3E}"/>
          </ac:spMkLst>
        </pc:spChg>
        <pc:spChg chg="add del mod">
          <ac:chgData name="Pauline Smout" userId="3153cd80-1eee-4546-abae-f15e9d00b721" providerId="ADAL" clId="{81C8F9D0-96F1-4272-A5C3-631DBA14B790}" dt="2022-12-12T12:24:09.704" v="62"/>
          <ac:spMkLst>
            <pc:docMk/>
            <pc:sldMk cId="646606086" sldId="296"/>
            <ac:spMk id="61" creationId="{B49CC04C-F89D-BFDB-A404-E0250AF54D12}"/>
          </ac:spMkLst>
        </pc:spChg>
        <pc:spChg chg="mod">
          <ac:chgData name="Pauline Smout" userId="3153cd80-1eee-4546-abae-f15e9d00b721" providerId="ADAL" clId="{81C8F9D0-96F1-4272-A5C3-631DBA14B790}" dt="2022-12-12T12:24:06.074" v="59"/>
          <ac:spMkLst>
            <pc:docMk/>
            <pc:sldMk cId="646606086" sldId="296"/>
            <ac:spMk id="63" creationId="{4649B048-157E-9DE9-C495-B7C16154131F}"/>
          </ac:spMkLst>
        </pc:spChg>
        <pc:spChg chg="mod">
          <ac:chgData name="Pauline Smout" userId="3153cd80-1eee-4546-abae-f15e9d00b721" providerId="ADAL" clId="{81C8F9D0-96F1-4272-A5C3-631DBA14B790}" dt="2022-12-12T12:24:06.074" v="59"/>
          <ac:spMkLst>
            <pc:docMk/>
            <pc:sldMk cId="646606086" sldId="296"/>
            <ac:spMk id="64" creationId="{7D0B5708-EBAB-8696-1183-71B32BC17F21}"/>
          </ac:spMkLst>
        </pc:spChg>
        <pc:spChg chg="add del mod">
          <ac:chgData name="Pauline Smout" userId="3153cd80-1eee-4546-abae-f15e9d00b721" providerId="ADAL" clId="{81C8F9D0-96F1-4272-A5C3-631DBA14B790}" dt="2022-12-12T12:24:09.704" v="62"/>
          <ac:spMkLst>
            <pc:docMk/>
            <pc:sldMk cId="646606086" sldId="296"/>
            <ac:spMk id="65" creationId="{17DE9382-030A-8F27-4BB7-284DB8DFD157}"/>
          </ac:spMkLst>
        </pc:spChg>
        <pc:spChg chg="add del mod">
          <ac:chgData name="Pauline Smout" userId="3153cd80-1eee-4546-abae-f15e9d00b721" providerId="ADAL" clId="{81C8F9D0-96F1-4272-A5C3-631DBA14B790}" dt="2022-12-12T12:24:09.704" v="62"/>
          <ac:spMkLst>
            <pc:docMk/>
            <pc:sldMk cId="646606086" sldId="296"/>
            <ac:spMk id="66" creationId="{5EAF8118-1834-9F81-E629-266AE8449ED1}"/>
          </ac:spMkLst>
        </pc:spChg>
        <pc:spChg chg="add del mod">
          <ac:chgData name="Pauline Smout" userId="3153cd80-1eee-4546-abae-f15e9d00b721" providerId="ADAL" clId="{81C8F9D0-96F1-4272-A5C3-631DBA14B790}" dt="2022-12-12T12:24:09.704" v="62"/>
          <ac:spMkLst>
            <pc:docMk/>
            <pc:sldMk cId="646606086" sldId="296"/>
            <ac:spMk id="67" creationId="{7D9F6F12-A886-A27C-F10F-01A499148EAF}"/>
          </ac:spMkLst>
        </pc:spChg>
        <pc:spChg chg="add del mod">
          <ac:chgData name="Pauline Smout" userId="3153cd80-1eee-4546-abae-f15e9d00b721" providerId="ADAL" clId="{81C8F9D0-96F1-4272-A5C3-631DBA14B790}" dt="2022-12-12T12:24:09.704" v="62"/>
          <ac:spMkLst>
            <pc:docMk/>
            <pc:sldMk cId="646606086" sldId="296"/>
            <ac:spMk id="68" creationId="{C899F810-D5A8-A827-2543-2ECDA561BF71}"/>
          </ac:spMkLst>
        </pc:spChg>
        <pc:spChg chg="add del mod">
          <ac:chgData name="Pauline Smout" userId="3153cd80-1eee-4546-abae-f15e9d00b721" providerId="ADAL" clId="{81C8F9D0-96F1-4272-A5C3-631DBA14B790}" dt="2022-12-12T12:24:09.704" v="62"/>
          <ac:spMkLst>
            <pc:docMk/>
            <pc:sldMk cId="646606086" sldId="296"/>
            <ac:spMk id="69" creationId="{244DC9AD-EA9F-C863-95F1-0DFCFC849493}"/>
          </ac:spMkLst>
        </pc:spChg>
        <pc:spChg chg="add del mod">
          <ac:chgData name="Pauline Smout" userId="3153cd80-1eee-4546-abae-f15e9d00b721" providerId="ADAL" clId="{81C8F9D0-96F1-4272-A5C3-631DBA14B790}" dt="2022-12-12T12:24:09.704" v="62"/>
          <ac:spMkLst>
            <pc:docMk/>
            <pc:sldMk cId="646606086" sldId="296"/>
            <ac:spMk id="70" creationId="{BB3C5684-3F8F-1169-7DD4-AD6B531D5383}"/>
          </ac:spMkLst>
        </pc:spChg>
        <pc:spChg chg="add del mod">
          <ac:chgData name="Pauline Smout" userId="3153cd80-1eee-4546-abae-f15e9d00b721" providerId="ADAL" clId="{81C8F9D0-96F1-4272-A5C3-631DBA14B790}" dt="2022-12-12T12:24:09.704" v="62"/>
          <ac:spMkLst>
            <pc:docMk/>
            <pc:sldMk cId="646606086" sldId="296"/>
            <ac:spMk id="71" creationId="{C8F30887-B7FF-A156-B000-B792CD6D0A6B}"/>
          </ac:spMkLst>
        </pc:spChg>
        <pc:spChg chg="add del mod">
          <ac:chgData name="Pauline Smout" userId="3153cd80-1eee-4546-abae-f15e9d00b721" providerId="ADAL" clId="{81C8F9D0-96F1-4272-A5C3-631DBA14B790}" dt="2022-12-12T12:24:09.704" v="62"/>
          <ac:spMkLst>
            <pc:docMk/>
            <pc:sldMk cId="646606086" sldId="296"/>
            <ac:spMk id="72" creationId="{176612C0-C5DD-4EE8-C623-A4B622271B46}"/>
          </ac:spMkLst>
        </pc:spChg>
        <pc:spChg chg="add del mod">
          <ac:chgData name="Pauline Smout" userId="3153cd80-1eee-4546-abae-f15e9d00b721" providerId="ADAL" clId="{81C8F9D0-96F1-4272-A5C3-631DBA14B790}" dt="2022-12-12T12:24:09.704" v="62"/>
          <ac:spMkLst>
            <pc:docMk/>
            <pc:sldMk cId="646606086" sldId="296"/>
            <ac:spMk id="73" creationId="{C225DBB8-4BCB-6055-6D78-50B8C3B02E9E}"/>
          </ac:spMkLst>
        </pc:spChg>
        <pc:spChg chg="add del mod">
          <ac:chgData name="Pauline Smout" userId="3153cd80-1eee-4546-abae-f15e9d00b721" providerId="ADAL" clId="{81C8F9D0-96F1-4272-A5C3-631DBA14B790}" dt="2022-12-12T12:24:09.704" v="62"/>
          <ac:spMkLst>
            <pc:docMk/>
            <pc:sldMk cId="646606086" sldId="296"/>
            <ac:spMk id="74" creationId="{55569ED2-55B0-7363-A98A-CE29F6FA499C}"/>
          </ac:spMkLst>
        </pc:spChg>
        <pc:spChg chg="add del mod">
          <ac:chgData name="Pauline Smout" userId="3153cd80-1eee-4546-abae-f15e9d00b721" providerId="ADAL" clId="{81C8F9D0-96F1-4272-A5C3-631DBA14B790}" dt="2022-12-12T12:24:09.704" v="62"/>
          <ac:spMkLst>
            <pc:docMk/>
            <pc:sldMk cId="646606086" sldId="296"/>
            <ac:spMk id="75" creationId="{B3CCA705-8E84-0FA2-EC0F-235C95D684CD}"/>
          </ac:spMkLst>
        </pc:spChg>
        <pc:spChg chg="add del mod">
          <ac:chgData name="Pauline Smout" userId="3153cd80-1eee-4546-abae-f15e9d00b721" providerId="ADAL" clId="{81C8F9D0-96F1-4272-A5C3-631DBA14B790}" dt="2022-12-12T12:24:09.704" v="62"/>
          <ac:spMkLst>
            <pc:docMk/>
            <pc:sldMk cId="646606086" sldId="296"/>
            <ac:spMk id="76" creationId="{0CCB6E8C-33E7-BC44-CC14-CEFDD271C190}"/>
          </ac:spMkLst>
        </pc:spChg>
        <pc:spChg chg="add del mod">
          <ac:chgData name="Pauline Smout" userId="3153cd80-1eee-4546-abae-f15e9d00b721" providerId="ADAL" clId="{81C8F9D0-96F1-4272-A5C3-631DBA14B790}" dt="2022-12-12T12:24:09.704" v="62"/>
          <ac:spMkLst>
            <pc:docMk/>
            <pc:sldMk cId="646606086" sldId="296"/>
            <ac:spMk id="77" creationId="{C257A89B-3620-0420-7072-D27C310A9031}"/>
          </ac:spMkLst>
        </pc:spChg>
        <pc:spChg chg="add del mod">
          <ac:chgData name="Pauline Smout" userId="3153cd80-1eee-4546-abae-f15e9d00b721" providerId="ADAL" clId="{81C8F9D0-96F1-4272-A5C3-631DBA14B790}" dt="2022-12-12T12:24:09.704" v="62"/>
          <ac:spMkLst>
            <pc:docMk/>
            <pc:sldMk cId="646606086" sldId="296"/>
            <ac:spMk id="78" creationId="{7BEA28FC-7B8A-967E-AEFD-AD082E32EA00}"/>
          </ac:spMkLst>
        </pc:spChg>
        <pc:spChg chg="add del mod">
          <ac:chgData name="Pauline Smout" userId="3153cd80-1eee-4546-abae-f15e9d00b721" providerId="ADAL" clId="{81C8F9D0-96F1-4272-A5C3-631DBA14B790}" dt="2022-12-12T12:24:09.704" v="62"/>
          <ac:spMkLst>
            <pc:docMk/>
            <pc:sldMk cId="646606086" sldId="296"/>
            <ac:spMk id="79" creationId="{1ADE2D41-B6A5-CD13-B42D-86D0E37D7439}"/>
          </ac:spMkLst>
        </pc:spChg>
        <pc:spChg chg="add del mod">
          <ac:chgData name="Pauline Smout" userId="3153cd80-1eee-4546-abae-f15e9d00b721" providerId="ADAL" clId="{81C8F9D0-96F1-4272-A5C3-631DBA14B790}" dt="2022-12-12T12:24:09.704" v="62"/>
          <ac:spMkLst>
            <pc:docMk/>
            <pc:sldMk cId="646606086" sldId="296"/>
            <ac:spMk id="80" creationId="{6F7182D1-4B34-76FA-3238-7FEB31EB3917}"/>
          </ac:spMkLst>
        </pc:spChg>
        <pc:spChg chg="add del mod">
          <ac:chgData name="Pauline Smout" userId="3153cd80-1eee-4546-abae-f15e9d00b721" providerId="ADAL" clId="{81C8F9D0-96F1-4272-A5C3-631DBA14B790}" dt="2022-12-12T12:24:09.704" v="62"/>
          <ac:spMkLst>
            <pc:docMk/>
            <pc:sldMk cId="646606086" sldId="296"/>
            <ac:spMk id="81" creationId="{E154C6A0-7AF0-B3DD-D186-ACC9C2DC055B}"/>
          </ac:spMkLst>
        </pc:spChg>
        <pc:spChg chg="add del mod">
          <ac:chgData name="Pauline Smout" userId="3153cd80-1eee-4546-abae-f15e9d00b721" providerId="ADAL" clId="{81C8F9D0-96F1-4272-A5C3-631DBA14B790}" dt="2022-12-12T12:24:09.704" v="62"/>
          <ac:spMkLst>
            <pc:docMk/>
            <pc:sldMk cId="646606086" sldId="296"/>
            <ac:spMk id="82" creationId="{58402353-4842-85C7-6FF9-D12D2E16DC4D}"/>
          </ac:spMkLst>
        </pc:spChg>
        <pc:spChg chg="add del mod">
          <ac:chgData name="Pauline Smout" userId="3153cd80-1eee-4546-abae-f15e9d00b721" providerId="ADAL" clId="{81C8F9D0-96F1-4272-A5C3-631DBA14B790}" dt="2022-12-12T12:24:09.704" v="62"/>
          <ac:spMkLst>
            <pc:docMk/>
            <pc:sldMk cId="646606086" sldId="296"/>
            <ac:spMk id="83" creationId="{B121B176-FCEF-0EF2-FDDB-C7F34C4F5423}"/>
          </ac:spMkLst>
        </pc:spChg>
        <pc:spChg chg="add del mod">
          <ac:chgData name="Pauline Smout" userId="3153cd80-1eee-4546-abae-f15e9d00b721" providerId="ADAL" clId="{81C8F9D0-96F1-4272-A5C3-631DBA14B790}" dt="2022-12-12T12:24:09.704" v="62"/>
          <ac:spMkLst>
            <pc:docMk/>
            <pc:sldMk cId="646606086" sldId="296"/>
            <ac:spMk id="84" creationId="{94D4D7B7-D1B8-D811-E297-35F44F0EB9E4}"/>
          </ac:spMkLst>
        </pc:spChg>
        <pc:spChg chg="add del mod">
          <ac:chgData name="Pauline Smout" userId="3153cd80-1eee-4546-abae-f15e9d00b721" providerId="ADAL" clId="{81C8F9D0-96F1-4272-A5C3-631DBA14B790}" dt="2022-12-12T12:24:09.704" v="62"/>
          <ac:spMkLst>
            <pc:docMk/>
            <pc:sldMk cId="646606086" sldId="296"/>
            <ac:spMk id="85" creationId="{A7F4FE1D-8D70-59AB-4851-E68A10FD73B0}"/>
          </ac:spMkLst>
        </pc:spChg>
        <pc:spChg chg="add del mod">
          <ac:chgData name="Pauline Smout" userId="3153cd80-1eee-4546-abae-f15e9d00b721" providerId="ADAL" clId="{81C8F9D0-96F1-4272-A5C3-631DBA14B790}" dt="2022-12-12T12:24:09.704" v="62"/>
          <ac:spMkLst>
            <pc:docMk/>
            <pc:sldMk cId="646606086" sldId="296"/>
            <ac:spMk id="86" creationId="{11F1458B-227E-3808-8A59-7C9B3294F47D}"/>
          </ac:spMkLst>
        </pc:spChg>
        <pc:spChg chg="add del mod">
          <ac:chgData name="Pauline Smout" userId="3153cd80-1eee-4546-abae-f15e9d00b721" providerId="ADAL" clId="{81C8F9D0-96F1-4272-A5C3-631DBA14B790}" dt="2022-12-12T12:24:09.704" v="62"/>
          <ac:spMkLst>
            <pc:docMk/>
            <pc:sldMk cId="646606086" sldId="296"/>
            <ac:spMk id="87" creationId="{ACF3BE17-BBA8-BA11-F187-AB3CEE55878E}"/>
          </ac:spMkLst>
        </pc:spChg>
        <pc:spChg chg="add del mod">
          <ac:chgData name="Pauline Smout" userId="3153cd80-1eee-4546-abae-f15e9d00b721" providerId="ADAL" clId="{81C8F9D0-96F1-4272-A5C3-631DBA14B790}" dt="2022-12-12T12:24:09.704" v="62"/>
          <ac:spMkLst>
            <pc:docMk/>
            <pc:sldMk cId="646606086" sldId="296"/>
            <ac:spMk id="88" creationId="{ED9B6C2F-E2F2-04C2-2BF0-0EA9A5976ACA}"/>
          </ac:spMkLst>
        </pc:spChg>
        <pc:spChg chg="add del mod">
          <ac:chgData name="Pauline Smout" userId="3153cd80-1eee-4546-abae-f15e9d00b721" providerId="ADAL" clId="{81C8F9D0-96F1-4272-A5C3-631DBA14B790}" dt="2022-12-12T12:24:09.704" v="62"/>
          <ac:spMkLst>
            <pc:docMk/>
            <pc:sldMk cId="646606086" sldId="296"/>
            <ac:spMk id="89" creationId="{52AF419A-90E1-B20D-9210-EC9A268A045A}"/>
          </ac:spMkLst>
        </pc:spChg>
        <pc:spChg chg="add del mod">
          <ac:chgData name="Pauline Smout" userId="3153cd80-1eee-4546-abae-f15e9d00b721" providerId="ADAL" clId="{81C8F9D0-96F1-4272-A5C3-631DBA14B790}" dt="2022-12-12T12:24:09.704" v="62"/>
          <ac:spMkLst>
            <pc:docMk/>
            <pc:sldMk cId="646606086" sldId="296"/>
            <ac:spMk id="90" creationId="{0350D106-FB03-C5C0-AC18-6729C26E109B}"/>
          </ac:spMkLst>
        </pc:spChg>
        <pc:spChg chg="add del mod">
          <ac:chgData name="Pauline Smout" userId="3153cd80-1eee-4546-abae-f15e9d00b721" providerId="ADAL" clId="{81C8F9D0-96F1-4272-A5C3-631DBA14B790}" dt="2022-12-12T12:24:09.704" v="62"/>
          <ac:spMkLst>
            <pc:docMk/>
            <pc:sldMk cId="646606086" sldId="296"/>
            <ac:spMk id="91" creationId="{EDDF2583-3E12-1569-C44D-0CBFA5222E33}"/>
          </ac:spMkLst>
        </pc:spChg>
        <pc:spChg chg="add del mod">
          <ac:chgData name="Pauline Smout" userId="3153cd80-1eee-4546-abae-f15e9d00b721" providerId="ADAL" clId="{81C8F9D0-96F1-4272-A5C3-631DBA14B790}" dt="2022-12-12T12:24:09.704" v="62"/>
          <ac:spMkLst>
            <pc:docMk/>
            <pc:sldMk cId="646606086" sldId="296"/>
            <ac:spMk id="92" creationId="{F1177F87-88F5-FDC1-D1AE-C5B8B962B20C}"/>
          </ac:spMkLst>
        </pc:spChg>
        <pc:spChg chg="add del mod">
          <ac:chgData name="Pauline Smout" userId="3153cd80-1eee-4546-abae-f15e9d00b721" providerId="ADAL" clId="{81C8F9D0-96F1-4272-A5C3-631DBA14B790}" dt="2022-12-12T12:24:09.704" v="62"/>
          <ac:spMkLst>
            <pc:docMk/>
            <pc:sldMk cId="646606086" sldId="296"/>
            <ac:spMk id="93" creationId="{46BA15F8-1972-8F8B-AC58-B30B3DA7AFF9}"/>
          </ac:spMkLst>
        </pc:spChg>
        <pc:spChg chg="add del mod">
          <ac:chgData name="Pauline Smout" userId="3153cd80-1eee-4546-abae-f15e9d00b721" providerId="ADAL" clId="{81C8F9D0-96F1-4272-A5C3-631DBA14B790}" dt="2022-12-12T12:24:09.704" v="62"/>
          <ac:spMkLst>
            <pc:docMk/>
            <pc:sldMk cId="646606086" sldId="296"/>
            <ac:spMk id="94" creationId="{846C53CB-BA7E-2035-C6F6-3440781213EC}"/>
          </ac:spMkLst>
        </pc:spChg>
        <pc:spChg chg="add del mod">
          <ac:chgData name="Pauline Smout" userId="3153cd80-1eee-4546-abae-f15e9d00b721" providerId="ADAL" clId="{81C8F9D0-96F1-4272-A5C3-631DBA14B790}" dt="2022-12-12T12:24:09.704" v="62"/>
          <ac:spMkLst>
            <pc:docMk/>
            <pc:sldMk cId="646606086" sldId="296"/>
            <ac:spMk id="95" creationId="{DF9430D2-85E6-CA1B-21CC-ECC864A804CE}"/>
          </ac:spMkLst>
        </pc:spChg>
        <pc:spChg chg="add del mod">
          <ac:chgData name="Pauline Smout" userId="3153cd80-1eee-4546-abae-f15e9d00b721" providerId="ADAL" clId="{81C8F9D0-96F1-4272-A5C3-631DBA14B790}" dt="2022-12-12T12:24:09.704" v="62"/>
          <ac:spMkLst>
            <pc:docMk/>
            <pc:sldMk cId="646606086" sldId="296"/>
            <ac:spMk id="96" creationId="{F87287B0-F6AB-60CA-B51B-219B8FA63A8A}"/>
          </ac:spMkLst>
        </pc:spChg>
        <pc:spChg chg="add del mod">
          <ac:chgData name="Pauline Smout" userId="3153cd80-1eee-4546-abae-f15e9d00b721" providerId="ADAL" clId="{81C8F9D0-96F1-4272-A5C3-631DBA14B790}" dt="2022-12-12T12:24:09.704" v="62"/>
          <ac:spMkLst>
            <pc:docMk/>
            <pc:sldMk cId="646606086" sldId="296"/>
            <ac:spMk id="97" creationId="{FC1FCA2D-B67E-1B48-D3B5-913A9CCBA892}"/>
          </ac:spMkLst>
        </pc:spChg>
        <pc:spChg chg="add del mod">
          <ac:chgData name="Pauline Smout" userId="3153cd80-1eee-4546-abae-f15e9d00b721" providerId="ADAL" clId="{81C8F9D0-96F1-4272-A5C3-631DBA14B790}" dt="2022-12-12T12:24:09.704" v="62"/>
          <ac:spMkLst>
            <pc:docMk/>
            <pc:sldMk cId="646606086" sldId="296"/>
            <ac:spMk id="98" creationId="{38CDEB1D-7243-1A69-E07B-A1AEC17FCE6A}"/>
          </ac:spMkLst>
        </pc:spChg>
        <pc:spChg chg="add del mod">
          <ac:chgData name="Pauline Smout" userId="3153cd80-1eee-4546-abae-f15e9d00b721" providerId="ADAL" clId="{81C8F9D0-96F1-4272-A5C3-631DBA14B790}" dt="2022-12-12T12:24:09.704" v="62"/>
          <ac:spMkLst>
            <pc:docMk/>
            <pc:sldMk cId="646606086" sldId="296"/>
            <ac:spMk id="99" creationId="{B4803F64-FAA5-6900-D555-9F248DB6EA3D}"/>
          </ac:spMkLst>
        </pc:spChg>
        <pc:spChg chg="add del mod">
          <ac:chgData name="Pauline Smout" userId="3153cd80-1eee-4546-abae-f15e9d00b721" providerId="ADAL" clId="{81C8F9D0-96F1-4272-A5C3-631DBA14B790}" dt="2022-12-12T12:24:09.704" v="62"/>
          <ac:spMkLst>
            <pc:docMk/>
            <pc:sldMk cId="646606086" sldId="296"/>
            <ac:spMk id="100" creationId="{1B41B685-D1BB-3971-18A2-F404FAB24853}"/>
          </ac:spMkLst>
        </pc:spChg>
        <pc:spChg chg="add del mod">
          <ac:chgData name="Pauline Smout" userId="3153cd80-1eee-4546-abae-f15e9d00b721" providerId="ADAL" clId="{81C8F9D0-96F1-4272-A5C3-631DBA14B790}" dt="2022-12-12T12:24:09.704" v="62"/>
          <ac:spMkLst>
            <pc:docMk/>
            <pc:sldMk cId="646606086" sldId="296"/>
            <ac:spMk id="101" creationId="{28153380-C725-51B6-EB92-72B79025325C}"/>
          </ac:spMkLst>
        </pc:spChg>
        <pc:spChg chg="add del mod">
          <ac:chgData name="Pauline Smout" userId="3153cd80-1eee-4546-abae-f15e9d00b721" providerId="ADAL" clId="{81C8F9D0-96F1-4272-A5C3-631DBA14B790}" dt="2022-12-12T12:24:09.704" v="62"/>
          <ac:spMkLst>
            <pc:docMk/>
            <pc:sldMk cId="646606086" sldId="296"/>
            <ac:spMk id="102" creationId="{2001323C-DF12-2CB6-408E-2936BD3454D5}"/>
          </ac:spMkLst>
        </pc:spChg>
        <pc:spChg chg="add del mod">
          <ac:chgData name="Pauline Smout" userId="3153cd80-1eee-4546-abae-f15e9d00b721" providerId="ADAL" clId="{81C8F9D0-96F1-4272-A5C3-631DBA14B790}" dt="2022-12-12T12:24:09.704" v="62"/>
          <ac:spMkLst>
            <pc:docMk/>
            <pc:sldMk cId="646606086" sldId="296"/>
            <ac:spMk id="103" creationId="{3EAC787C-59F8-7998-EC78-3F1237457399}"/>
          </ac:spMkLst>
        </pc:spChg>
        <pc:spChg chg="add del mod">
          <ac:chgData name="Pauline Smout" userId="3153cd80-1eee-4546-abae-f15e9d00b721" providerId="ADAL" clId="{81C8F9D0-96F1-4272-A5C3-631DBA14B790}" dt="2022-12-12T12:24:09.704" v="62"/>
          <ac:spMkLst>
            <pc:docMk/>
            <pc:sldMk cId="646606086" sldId="296"/>
            <ac:spMk id="104" creationId="{0CA6D7EA-A54B-0BE6-C556-75277CAADEE1}"/>
          </ac:spMkLst>
        </pc:spChg>
        <pc:spChg chg="add del mod">
          <ac:chgData name="Pauline Smout" userId="3153cd80-1eee-4546-abae-f15e9d00b721" providerId="ADAL" clId="{81C8F9D0-96F1-4272-A5C3-631DBA14B790}" dt="2022-12-12T12:24:09.704" v="62"/>
          <ac:spMkLst>
            <pc:docMk/>
            <pc:sldMk cId="646606086" sldId="296"/>
            <ac:spMk id="105" creationId="{EBF1458B-4B1C-3E59-9F4A-2C4B9CF28C78}"/>
          </ac:spMkLst>
        </pc:spChg>
        <pc:spChg chg="add del mod">
          <ac:chgData name="Pauline Smout" userId="3153cd80-1eee-4546-abae-f15e9d00b721" providerId="ADAL" clId="{81C8F9D0-96F1-4272-A5C3-631DBA14B790}" dt="2022-12-12T12:24:09.704" v="62"/>
          <ac:spMkLst>
            <pc:docMk/>
            <pc:sldMk cId="646606086" sldId="296"/>
            <ac:spMk id="106" creationId="{5E6F3AEB-8705-78E0-8F37-B136E017FAB7}"/>
          </ac:spMkLst>
        </pc:spChg>
        <pc:spChg chg="add del mod">
          <ac:chgData name="Pauline Smout" userId="3153cd80-1eee-4546-abae-f15e9d00b721" providerId="ADAL" clId="{81C8F9D0-96F1-4272-A5C3-631DBA14B790}" dt="2022-12-12T12:24:09.704" v="62"/>
          <ac:spMkLst>
            <pc:docMk/>
            <pc:sldMk cId="646606086" sldId="296"/>
            <ac:spMk id="107" creationId="{47AD4E9B-87F6-288B-D929-E30C085CFE57}"/>
          </ac:spMkLst>
        </pc:spChg>
        <pc:spChg chg="add del mod">
          <ac:chgData name="Pauline Smout" userId="3153cd80-1eee-4546-abae-f15e9d00b721" providerId="ADAL" clId="{81C8F9D0-96F1-4272-A5C3-631DBA14B790}" dt="2022-12-12T12:24:09.704" v="62"/>
          <ac:spMkLst>
            <pc:docMk/>
            <pc:sldMk cId="646606086" sldId="296"/>
            <ac:spMk id="108" creationId="{60562756-3443-7530-32AB-20B06F9F3D05}"/>
          </ac:spMkLst>
        </pc:spChg>
        <pc:spChg chg="add del mod">
          <ac:chgData name="Pauline Smout" userId="3153cd80-1eee-4546-abae-f15e9d00b721" providerId="ADAL" clId="{81C8F9D0-96F1-4272-A5C3-631DBA14B790}" dt="2022-12-12T12:24:09.704" v="62"/>
          <ac:spMkLst>
            <pc:docMk/>
            <pc:sldMk cId="646606086" sldId="296"/>
            <ac:spMk id="109" creationId="{3C554B4B-A405-4A60-32A9-BF34CFE68DDA}"/>
          </ac:spMkLst>
        </pc:spChg>
        <pc:spChg chg="add del mod">
          <ac:chgData name="Pauline Smout" userId="3153cd80-1eee-4546-abae-f15e9d00b721" providerId="ADAL" clId="{81C8F9D0-96F1-4272-A5C3-631DBA14B790}" dt="2022-12-12T12:24:09.704" v="62"/>
          <ac:spMkLst>
            <pc:docMk/>
            <pc:sldMk cId="646606086" sldId="296"/>
            <ac:spMk id="110" creationId="{1BDDF526-15CC-8DDB-D715-7DD941C5EB32}"/>
          </ac:spMkLst>
        </pc:spChg>
        <pc:spChg chg="add mod">
          <ac:chgData name="Pauline Smout" userId="3153cd80-1eee-4546-abae-f15e9d00b721" providerId="ADAL" clId="{81C8F9D0-96F1-4272-A5C3-631DBA14B790}" dt="2022-12-12T12:24:20.764" v="85" actId="1037"/>
          <ac:spMkLst>
            <pc:docMk/>
            <pc:sldMk cId="646606086" sldId="296"/>
            <ac:spMk id="111" creationId="{9BCF90D9-767F-DD09-38BB-849E7C0770F5}"/>
          </ac:spMkLst>
        </pc:spChg>
        <pc:spChg chg="add mod">
          <ac:chgData name="Pauline Smout" userId="3153cd80-1eee-4546-abae-f15e9d00b721" providerId="ADAL" clId="{81C8F9D0-96F1-4272-A5C3-631DBA14B790}" dt="2022-12-12T12:24:20.764" v="85" actId="1037"/>
          <ac:spMkLst>
            <pc:docMk/>
            <pc:sldMk cId="646606086" sldId="296"/>
            <ac:spMk id="112" creationId="{7A35777F-000C-E17F-BE26-43FE023B8F73}"/>
          </ac:spMkLst>
        </pc:spChg>
        <pc:spChg chg="add mod">
          <ac:chgData name="Pauline Smout" userId="3153cd80-1eee-4546-abae-f15e9d00b721" providerId="ADAL" clId="{81C8F9D0-96F1-4272-A5C3-631DBA14B790}" dt="2022-12-12T12:24:20.764" v="85" actId="1037"/>
          <ac:spMkLst>
            <pc:docMk/>
            <pc:sldMk cId="646606086" sldId="296"/>
            <ac:spMk id="113" creationId="{77A3C808-2BE7-A5AF-B5F3-B429AD703DAD}"/>
          </ac:spMkLst>
        </pc:spChg>
        <pc:spChg chg="add mod">
          <ac:chgData name="Pauline Smout" userId="3153cd80-1eee-4546-abae-f15e9d00b721" providerId="ADAL" clId="{81C8F9D0-96F1-4272-A5C3-631DBA14B790}" dt="2022-12-12T12:24:20.764" v="85" actId="1037"/>
          <ac:spMkLst>
            <pc:docMk/>
            <pc:sldMk cId="646606086" sldId="296"/>
            <ac:spMk id="114" creationId="{69A4EDB1-8146-E189-18F1-0A780ACE474B}"/>
          </ac:spMkLst>
        </pc:spChg>
        <pc:spChg chg="mod">
          <ac:chgData name="Pauline Smout" userId="3153cd80-1eee-4546-abae-f15e9d00b721" providerId="ADAL" clId="{81C8F9D0-96F1-4272-A5C3-631DBA14B790}" dt="2022-12-12T12:24:09.751" v="63"/>
          <ac:spMkLst>
            <pc:docMk/>
            <pc:sldMk cId="646606086" sldId="296"/>
            <ac:spMk id="116" creationId="{CD9AF4B1-E480-3C15-89A9-7A71E61B69A9}"/>
          </ac:spMkLst>
        </pc:spChg>
        <pc:spChg chg="mod">
          <ac:chgData name="Pauline Smout" userId="3153cd80-1eee-4546-abae-f15e9d00b721" providerId="ADAL" clId="{81C8F9D0-96F1-4272-A5C3-631DBA14B790}" dt="2022-12-12T12:24:09.751" v="63"/>
          <ac:spMkLst>
            <pc:docMk/>
            <pc:sldMk cId="646606086" sldId="296"/>
            <ac:spMk id="117" creationId="{EFDB1A8A-F76F-196D-5117-2F3E58A5812E}"/>
          </ac:spMkLst>
        </pc:spChg>
        <pc:spChg chg="add mod">
          <ac:chgData name="Pauline Smout" userId="3153cd80-1eee-4546-abae-f15e9d00b721" providerId="ADAL" clId="{81C8F9D0-96F1-4272-A5C3-631DBA14B790}" dt="2022-12-12T12:24:20.764" v="85" actId="1037"/>
          <ac:spMkLst>
            <pc:docMk/>
            <pc:sldMk cId="646606086" sldId="296"/>
            <ac:spMk id="118" creationId="{8BE0D068-BF0D-EF69-40F5-BAD8FE53EFB4}"/>
          </ac:spMkLst>
        </pc:spChg>
        <pc:spChg chg="add mod">
          <ac:chgData name="Pauline Smout" userId="3153cd80-1eee-4546-abae-f15e9d00b721" providerId="ADAL" clId="{81C8F9D0-96F1-4272-A5C3-631DBA14B790}" dt="2022-12-12T12:24:20.764" v="85" actId="1037"/>
          <ac:spMkLst>
            <pc:docMk/>
            <pc:sldMk cId="646606086" sldId="296"/>
            <ac:spMk id="119" creationId="{2CBBBD69-A321-B814-F913-78B06FB77D6B}"/>
          </ac:spMkLst>
        </pc:spChg>
        <pc:spChg chg="add mod">
          <ac:chgData name="Pauline Smout" userId="3153cd80-1eee-4546-abae-f15e9d00b721" providerId="ADAL" clId="{81C8F9D0-96F1-4272-A5C3-631DBA14B790}" dt="2022-12-12T12:24:20.764" v="85" actId="1037"/>
          <ac:spMkLst>
            <pc:docMk/>
            <pc:sldMk cId="646606086" sldId="296"/>
            <ac:spMk id="120" creationId="{6CB6DAF7-B9D3-2553-E402-D5730F95445D}"/>
          </ac:spMkLst>
        </pc:spChg>
        <pc:spChg chg="add mod">
          <ac:chgData name="Pauline Smout" userId="3153cd80-1eee-4546-abae-f15e9d00b721" providerId="ADAL" clId="{81C8F9D0-96F1-4272-A5C3-631DBA14B790}" dt="2022-12-12T12:24:20.764" v="85" actId="1037"/>
          <ac:spMkLst>
            <pc:docMk/>
            <pc:sldMk cId="646606086" sldId="296"/>
            <ac:spMk id="121" creationId="{8E5CACC1-F278-E0DC-F273-BE81E8B745BD}"/>
          </ac:spMkLst>
        </pc:spChg>
        <pc:spChg chg="add mod">
          <ac:chgData name="Pauline Smout" userId="3153cd80-1eee-4546-abae-f15e9d00b721" providerId="ADAL" clId="{81C8F9D0-96F1-4272-A5C3-631DBA14B790}" dt="2022-12-12T12:24:20.764" v="85" actId="1037"/>
          <ac:spMkLst>
            <pc:docMk/>
            <pc:sldMk cId="646606086" sldId="296"/>
            <ac:spMk id="122" creationId="{35DC735C-5EB2-4189-6754-01BBC3F475E1}"/>
          </ac:spMkLst>
        </pc:spChg>
        <pc:spChg chg="add mod">
          <ac:chgData name="Pauline Smout" userId="3153cd80-1eee-4546-abae-f15e9d00b721" providerId="ADAL" clId="{81C8F9D0-96F1-4272-A5C3-631DBA14B790}" dt="2022-12-12T12:24:20.764" v="85" actId="1037"/>
          <ac:spMkLst>
            <pc:docMk/>
            <pc:sldMk cId="646606086" sldId="296"/>
            <ac:spMk id="123" creationId="{757F28E4-2240-3B31-0034-00086D4414C2}"/>
          </ac:spMkLst>
        </pc:spChg>
        <pc:spChg chg="add mod">
          <ac:chgData name="Pauline Smout" userId="3153cd80-1eee-4546-abae-f15e9d00b721" providerId="ADAL" clId="{81C8F9D0-96F1-4272-A5C3-631DBA14B790}" dt="2022-12-12T12:24:20.764" v="85" actId="1037"/>
          <ac:spMkLst>
            <pc:docMk/>
            <pc:sldMk cId="646606086" sldId="296"/>
            <ac:spMk id="124" creationId="{636B90C2-6ABB-EA83-4B6E-50503C829DFE}"/>
          </ac:spMkLst>
        </pc:spChg>
        <pc:spChg chg="add mod">
          <ac:chgData name="Pauline Smout" userId="3153cd80-1eee-4546-abae-f15e9d00b721" providerId="ADAL" clId="{81C8F9D0-96F1-4272-A5C3-631DBA14B790}" dt="2022-12-12T12:24:20.764" v="85" actId="1037"/>
          <ac:spMkLst>
            <pc:docMk/>
            <pc:sldMk cId="646606086" sldId="296"/>
            <ac:spMk id="125" creationId="{57EFE0E1-382C-05D4-0716-E3B487FD0B99}"/>
          </ac:spMkLst>
        </pc:spChg>
        <pc:spChg chg="add mod">
          <ac:chgData name="Pauline Smout" userId="3153cd80-1eee-4546-abae-f15e9d00b721" providerId="ADAL" clId="{81C8F9D0-96F1-4272-A5C3-631DBA14B790}" dt="2022-12-12T12:24:20.764" v="85" actId="1037"/>
          <ac:spMkLst>
            <pc:docMk/>
            <pc:sldMk cId="646606086" sldId="296"/>
            <ac:spMk id="126" creationId="{EA5C3116-530D-3647-C171-6AF179AC935D}"/>
          </ac:spMkLst>
        </pc:spChg>
        <pc:spChg chg="add mod">
          <ac:chgData name="Pauline Smout" userId="3153cd80-1eee-4546-abae-f15e9d00b721" providerId="ADAL" clId="{81C8F9D0-96F1-4272-A5C3-631DBA14B790}" dt="2022-12-12T12:24:20.764" v="85" actId="1037"/>
          <ac:spMkLst>
            <pc:docMk/>
            <pc:sldMk cId="646606086" sldId="296"/>
            <ac:spMk id="127" creationId="{7F9C242B-0CF9-0E26-1F76-637C1D4A537F}"/>
          </ac:spMkLst>
        </pc:spChg>
        <pc:spChg chg="add mod">
          <ac:chgData name="Pauline Smout" userId="3153cd80-1eee-4546-abae-f15e9d00b721" providerId="ADAL" clId="{81C8F9D0-96F1-4272-A5C3-631DBA14B790}" dt="2022-12-12T12:24:20.764" v="85" actId="1037"/>
          <ac:spMkLst>
            <pc:docMk/>
            <pc:sldMk cId="646606086" sldId="296"/>
            <ac:spMk id="128" creationId="{335C246A-D7B4-F2C9-9B18-9E38490046C0}"/>
          </ac:spMkLst>
        </pc:spChg>
        <pc:spChg chg="add mod">
          <ac:chgData name="Pauline Smout" userId="3153cd80-1eee-4546-abae-f15e9d00b721" providerId="ADAL" clId="{81C8F9D0-96F1-4272-A5C3-631DBA14B790}" dt="2022-12-12T12:24:20.764" v="85" actId="1037"/>
          <ac:spMkLst>
            <pc:docMk/>
            <pc:sldMk cId="646606086" sldId="296"/>
            <ac:spMk id="129" creationId="{5D52C622-29C2-8622-162D-C824086AB486}"/>
          </ac:spMkLst>
        </pc:spChg>
        <pc:spChg chg="add mod">
          <ac:chgData name="Pauline Smout" userId="3153cd80-1eee-4546-abae-f15e9d00b721" providerId="ADAL" clId="{81C8F9D0-96F1-4272-A5C3-631DBA14B790}" dt="2022-12-12T12:24:20.764" v="85" actId="1037"/>
          <ac:spMkLst>
            <pc:docMk/>
            <pc:sldMk cId="646606086" sldId="296"/>
            <ac:spMk id="130" creationId="{D2FABE1E-D339-8A57-777E-AEE51EA86086}"/>
          </ac:spMkLst>
        </pc:spChg>
        <pc:spChg chg="add mod">
          <ac:chgData name="Pauline Smout" userId="3153cd80-1eee-4546-abae-f15e9d00b721" providerId="ADAL" clId="{81C8F9D0-96F1-4272-A5C3-631DBA14B790}" dt="2022-12-12T12:24:20.764" v="85" actId="1037"/>
          <ac:spMkLst>
            <pc:docMk/>
            <pc:sldMk cId="646606086" sldId="296"/>
            <ac:spMk id="131" creationId="{BE238C06-F2F9-E305-0DA9-21514153163B}"/>
          </ac:spMkLst>
        </pc:spChg>
        <pc:spChg chg="add mod">
          <ac:chgData name="Pauline Smout" userId="3153cd80-1eee-4546-abae-f15e9d00b721" providerId="ADAL" clId="{81C8F9D0-96F1-4272-A5C3-631DBA14B790}" dt="2022-12-12T12:24:20.764" v="85" actId="1037"/>
          <ac:spMkLst>
            <pc:docMk/>
            <pc:sldMk cId="646606086" sldId="296"/>
            <ac:spMk id="132" creationId="{1D24952D-5F58-2F3A-6D72-3A000809F48F}"/>
          </ac:spMkLst>
        </pc:spChg>
        <pc:spChg chg="add mod">
          <ac:chgData name="Pauline Smout" userId="3153cd80-1eee-4546-abae-f15e9d00b721" providerId="ADAL" clId="{81C8F9D0-96F1-4272-A5C3-631DBA14B790}" dt="2022-12-12T12:24:20.764" v="85" actId="1037"/>
          <ac:spMkLst>
            <pc:docMk/>
            <pc:sldMk cId="646606086" sldId="296"/>
            <ac:spMk id="133" creationId="{9B934CB0-2C61-4C26-AA26-A92D9F937CEF}"/>
          </ac:spMkLst>
        </pc:spChg>
        <pc:spChg chg="add mod">
          <ac:chgData name="Pauline Smout" userId="3153cd80-1eee-4546-abae-f15e9d00b721" providerId="ADAL" clId="{81C8F9D0-96F1-4272-A5C3-631DBA14B790}" dt="2022-12-12T12:24:20.764" v="85" actId="1037"/>
          <ac:spMkLst>
            <pc:docMk/>
            <pc:sldMk cId="646606086" sldId="296"/>
            <ac:spMk id="134" creationId="{1DFE4F19-17A2-2F27-05B9-FDAC94867F4C}"/>
          </ac:spMkLst>
        </pc:spChg>
        <pc:spChg chg="add mod">
          <ac:chgData name="Pauline Smout" userId="3153cd80-1eee-4546-abae-f15e9d00b721" providerId="ADAL" clId="{81C8F9D0-96F1-4272-A5C3-631DBA14B790}" dt="2022-12-12T12:24:20.764" v="85" actId="1037"/>
          <ac:spMkLst>
            <pc:docMk/>
            <pc:sldMk cId="646606086" sldId="296"/>
            <ac:spMk id="135" creationId="{7604242F-C11D-9212-2C37-6B2CB486FCD1}"/>
          </ac:spMkLst>
        </pc:spChg>
        <pc:spChg chg="add mod">
          <ac:chgData name="Pauline Smout" userId="3153cd80-1eee-4546-abae-f15e9d00b721" providerId="ADAL" clId="{81C8F9D0-96F1-4272-A5C3-631DBA14B790}" dt="2022-12-12T12:24:20.764" v="85" actId="1037"/>
          <ac:spMkLst>
            <pc:docMk/>
            <pc:sldMk cId="646606086" sldId="296"/>
            <ac:spMk id="136" creationId="{D786BDF1-84FC-E27A-EE60-B92AD3C2F2FE}"/>
          </ac:spMkLst>
        </pc:spChg>
        <pc:spChg chg="add mod">
          <ac:chgData name="Pauline Smout" userId="3153cd80-1eee-4546-abae-f15e9d00b721" providerId="ADAL" clId="{81C8F9D0-96F1-4272-A5C3-631DBA14B790}" dt="2022-12-12T12:24:20.764" v="85" actId="1037"/>
          <ac:spMkLst>
            <pc:docMk/>
            <pc:sldMk cId="646606086" sldId="296"/>
            <ac:spMk id="137" creationId="{4D5BD6E6-E9EB-5070-9093-0C635B01AE23}"/>
          </ac:spMkLst>
        </pc:spChg>
        <pc:spChg chg="add mod">
          <ac:chgData name="Pauline Smout" userId="3153cd80-1eee-4546-abae-f15e9d00b721" providerId="ADAL" clId="{81C8F9D0-96F1-4272-A5C3-631DBA14B790}" dt="2022-12-12T12:24:20.764" v="85" actId="1037"/>
          <ac:spMkLst>
            <pc:docMk/>
            <pc:sldMk cId="646606086" sldId="296"/>
            <ac:spMk id="138" creationId="{89C7D323-E64F-03DD-E5A2-20A21545D2D8}"/>
          </ac:spMkLst>
        </pc:spChg>
        <pc:spChg chg="add mod">
          <ac:chgData name="Pauline Smout" userId="3153cd80-1eee-4546-abae-f15e9d00b721" providerId="ADAL" clId="{81C8F9D0-96F1-4272-A5C3-631DBA14B790}" dt="2022-12-12T12:24:20.764" v="85" actId="1037"/>
          <ac:spMkLst>
            <pc:docMk/>
            <pc:sldMk cId="646606086" sldId="296"/>
            <ac:spMk id="139" creationId="{1F700B25-0B48-765A-1A59-809DA1FB2C7F}"/>
          </ac:spMkLst>
        </pc:spChg>
        <pc:spChg chg="add mod">
          <ac:chgData name="Pauline Smout" userId="3153cd80-1eee-4546-abae-f15e9d00b721" providerId="ADAL" clId="{81C8F9D0-96F1-4272-A5C3-631DBA14B790}" dt="2022-12-12T12:24:20.764" v="85" actId="1037"/>
          <ac:spMkLst>
            <pc:docMk/>
            <pc:sldMk cId="646606086" sldId="296"/>
            <ac:spMk id="140" creationId="{59367A00-D08D-8134-517B-86B2C3115F11}"/>
          </ac:spMkLst>
        </pc:spChg>
        <pc:spChg chg="add mod">
          <ac:chgData name="Pauline Smout" userId="3153cd80-1eee-4546-abae-f15e9d00b721" providerId="ADAL" clId="{81C8F9D0-96F1-4272-A5C3-631DBA14B790}" dt="2022-12-12T12:24:20.764" v="85" actId="1037"/>
          <ac:spMkLst>
            <pc:docMk/>
            <pc:sldMk cId="646606086" sldId="296"/>
            <ac:spMk id="141" creationId="{50E1275B-C24A-261A-0317-B4D67EDD62CD}"/>
          </ac:spMkLst>
        </pc:spChg>
        <pc:spChg chg="add mod">
          <ac:chgData name="Pauline Smout" userId="3153cd80-1eee-4546-abae-f15e9d00b721" providerId="ADAL" clId="{81C8F9D0-96F1-4272-A5C3-631DBA14B790}" dt="2022-12-12T12:24:20.764" v="85" actId="1037"/>
          <ac:spMkLst>
            <pc:docMk/>
            <pc:sldMk cId="646606086" sldId="296"/>
            <ac:spMk id="142" creationId="{D734464E-D119-54A4-3B9F-0EC87E65DC77}"/>
          </ac:spMkLst>
        </pc:spChg>
        <pc:spChg chg="add mod">
          <ac:chgData name="Pauline Smout" userId="3153cd80-1eee-4546-abae-f15e9d00b721" providerId="ADAL" clId="{81C8F9D0-96F1-4272-A5C3-631DBA14B790}" dt="2022-12-12T12:24:20.764" v="85" actId="1037"/>
          <ac:spMkLst>
            <pc:docMk/>
            <pc:sldMk cId="646606086" sldId="296"/>
            <ac:spMk id="143" creationId="{D682922A-9724-4964-4F2A-0ED17B4052F0}"/>
          </ac:spMkLst>
        </pc:spChg>
        <pc:spChg chg="add mod">
          <ac:chgData name="Pauline Smout" userId="3153cd80-1eee-4546-abae-f15e9d00b721" providerId="ADAL" clId="{81C8F9D0-96F1-4272-A5C3-631DBA14B790}" dt="2022-12-12T12:24:20.764" v="85" actId="1037"/>
          <ac:spMkLst>
            <pc:docMk/>
            <pc:sldMk cId="646606086" sldId="296"/>
            <ac:spMk id="144" creationId="{83DCCA5E-166D-ACDC-9D7A-58473E9287A6}"/>
          </ac:spMkLst>
        </pc:spChg>
        <pc:spChg chg="add mod">
          <ac:chgData name="Pauline Smout" userId="3153cd80-1eee-4546-abae-f15e9d00b721" providerId="ADAL" clId="{81C8F9D0-96F1-4272-A5C3-631DBA14B790}" dt="2022-12-12T12:24:20.764" v="85" actId="1037"/>
          <ac:spMkLst>
            <pc:docMk/>
            <pc:sldMk cId="646606086" sldId="296"/>
            <ac:spMk id="145" creationId="{14EF2C63-B715-A8C9-3048-8CC714629EFF}"/>
          </ac:spMkLst>
        </pc:spChg>
        <pc:spChg chg="add mod">
          <ac:chgData name="Pauline Smout" userId="3153cd80-1eee-4546-abae-f15e9d00b721" providerId="ADAL" clId="{81C8F9D0-96F1-4272-A5C3-631DBA14B790}" dt="2022-12-12T12:24:20.764" v="85" actId="1037"/>
          <ac:spMkLst>
            <pc:docMk/>
            <pc:sldMk cId="646606086" sldId="296"/>
            <ac:spMk id="146" creationId="{F27BC0A6-31B8-1618-F906-6BCFFD56C1EC}"/>
          </ac:spMkLst>
        </pc:spChg>
        <pc:spChg chg="add mod">
          <ac:chgData name="Pauline Smout" userId="3153cd80-1eee-4546-abae-f15e9d00b721" providerId="ADAL" clId="{81C8F9D0-96F1-4272-A5C3-631DBA14B790}" dt="2022-12-12T12:24:20.764" v="85" actId="1037"/>
          <ac:spMkLst>
            <pc:docMk/>
            <pc:sldMk cId="646606086" sldId="296"/>
            <ac:spMk id="147" creationId="{20F3624F-325E-6EEA-3548-C06408834EBA}"/>
          </ac:spMkLst>
        </pc:spChg>
        <pc:spChg chg="add mod">
          <ac:chgData name="Pauline Smout" userId="3153cd80-1eee-4546-abae-f15e9d00b721" providerId="ADAL" clId="{81C8F9D0-96F1-4272-A5C3-631DBA14B790}" dt="2022-12-12T12:24:20.764" v="85" actId="1037"/>
          <ac:spMkLst>
            <pc:docMk/>
            <pc:sldMk cId="646606086" sldId="296"/>
            <ac:spMk id="148" creationId="{C129D1FF-8169-7C57-D065-6B99219A53FB}"/>
          </ac:spMkLst>
        </pc:spChg>
        <pc:spChg chg="add mod">
          <ac:chgData name="Pauline Smout" userId="3153cd80-1eee-4546-abae-f15e9d00b721" providerId="ADAL" clId="{81C8F9D0-96F1-4272-A5C3-631DBA14B790}" dt="2022-12-12T12:24:20.764" v="85" actId="1037"/>
          <ac:spMkLst>
            <pc:docMk/>
            <pc:sldMk cId="646606086" sldId="296"/>
            <ac:spMk id="149" creationId="{6FEE5CCC-9880-4FF6-6A41-9E08EAF94479}"/>
          </ac:spMkLst>
        </pc:spChg>
        <pc:spChg chg="add mod">
          <ac:chgData name="Pauline Smout" userId="3153cd80-1eee-4546-abae-f15e9d00b721" providerId="ADAL" clId="{81C8F9D0-96F1-4272-A5C3-631DBA14B790}" dt="2022-12-12T12:24:20.764" v="85" actId="1037"/>
          <ac:spMkLst>
            <pc:docMk/>
            <pc:sldMk cId="646606086" sldId="296"/>
            <ac:spMk id="150" creationId="{EE101CF0-B79B-9F5D-379F-D30938723976}"/>
          </ac:spMkLst>
        </pc:spChg>
        <pc:spChg chg="add mod">
          <ac:chgData name="Pauline Smout" userId="3153cd80-1eee-4546-abae-f15e9d00b721" providerId="ADAL" clId="{81C8F9D0-96F1-4272-A5C3-631DBA14B790}" dt="2022-12-12T12:24:20.764" v="85" actId="1037"/>
          <ac:spMkLst>
            <pc:docMk/>
            <pc:sldMk cId="646606086" sldId="296"/>
            <ac:spMk id="151" creationId="{29C459C5-383D-287E-0A0B-DE7FEDB36CC8}"/>
          </ac:spMkLst>
        </pc:spChg>
        <pc:spChg chg="add mod">
          <ac:chgData name="Pauline Smout" userId="3153cd80-1eee-4546-abae-f15e9d00b721" providerId="ADAL" clId="{81C8F9D0-96F1-4272-A5C3-631DBA14B790}" dt="2022-12-12T12:24:20.764" v="85" actId="1037"/>
          <ac:spMkLst>
            <pc:docMk/>
            <pc:sldMk cId="646606086" sldId="296"/>
            <ac:spMk id="152" creationId="{2643EC85-15CD-87F2-6A68-DD40B9CDE638}"/>
          </ac:spMkLst>
        </pc:spChg>
        <pc:spChg chg="add mod">
          <ac:chgData name="Pauline Smout" userId="3153cd80-1eee-4546-abae-f15e9d00b721" providerId="ADAL" clId="{81C8F9D0-96F1-4272-A5C3-631DBA14B790}" dt="2022-12-12T12:24:20.764" v="85" actId="1037"/>
          <ac:spMkLst>
            <pc:docMk/>
            <pc:sldMk cId="646606086" sldId="296"/>
            <ac:spMk id="153" creationId="{CF323C29-7B86-D2CB-53E5-A24E25F0ABE0}"/>
          </ac:spMkLst>
        </pc:spChg>
        <pc:spChg chg="add mod">
          <ac:chgData name="Pauline Smout" userId="3153cd80-1eee-4546-abae-f15e9d00b721" providerId="ADAL" clId="{81C8F9D0-96F1-4272-A5C3-631DBA14B790}" dt="2022-12-12T12:24:20.764" v="85" actId="1037"/>
          <ac:spMkLst>
            <pc:docMk/>
            <pc:sldMk cId="646606086" sldId="296"/>
            <ac:spMk id="154" creationId="{A59D6428-C82C-15F8-F171-2C724A7F9F36}"/>
          </ac:spMkLst>
        </pc:spChg>
        <pc:spChg chg="add mod">
          <ac:chgData name="Pauline Smout" userId="3153cd80-1eee-4546-abae-f15e9d00b721" providerId="ADAL" clId="{81C8F9D0-96F1-4272-A5C3-631DBA14B790}" dt="2022-12-12T12:24:20.764" v="85" actId="1037"/>
          <ac:spMkLst>
            <pc:docMk/>
            <pc:sldMk cId="646606086" sldId="296"/>
            <ac:spMk id="155" creationId="{F91E18FC-A700-7C6D-8FD2-7595573FA82E}"/>
          </ac:spMkLst>
        </pc:spChg>
        <pc:spChg chg="add mod">
          <ac:chgData name="Pauline Smout" userId="3153cd80-1eee-4546-abae-f15e9d00b721" providerId="ADAL" clId="{81C8F9D0-96F1-4272-A5C3-631DBA14B790}" dt="2022-12-12T12:24:20.764" v="85" actId="1037"/>
          <ac:spMkLst>
            <pc:docMk/>
            <pc:sldMk cId="646606086" sldId="296"/>
            <ac:spMk id="156" creationId="{B1533AE2-A41E-431E-B411-4547A9A00478}"/>
          </ac:spMkLst>
        </pc:spChg>
        <pc:spChg chg="add mod">
          <ac:chgData name="Pauline Smout" userId="3153cd80-1eee-4546-abae-f15e9d00b721" providerId="ADAL" clId="{81C8F9D0-96F1-4272-A5C3-631DBA14B790}" dt="2022-12-12T12:24:20.764" v="85" actId="1037"/>
          <ac:spMkLst>
            <pc:docMk/>
            <pc:sldMk cId="646606086" sldId="296"/>
            <ac:spMk id="157" creationId="{08D33C3E-9FFA-6BA4-0127-4CF0C8C40D4C}"/>
          </ac:spMkLst>
        </pc:spChg>
        <pc:spChg chg="add mod">
          <ac:chgData name="Pauline Smout" userId="3153cd80-1eee-4546-abae-f15e9d00b721" providerId="ADAL" clId="{81C8F9D0-96F1-4272-A5C3-631DBA14B790}" dt="2022-12-12T12:24:20.764" v="85" actId="1037"/>
          <ac:spMkLst>
            <pc:docMk/>
            <pc:sldMk cId="646606086" sldId="296"/>
            <ac:spMk id="158" creationId="{7D3DDCFA-40F2-3F3B-8465-7872FE13DFDA}"/>
          </ac:spMkLst>
        </pc:spChg>
        <pc:spChg chg="add mod">
          <ac:chgData name="Pauline Smout" userId="3153cd80-1eee-4546-abae-f15e9d00b721" providerId="ADAL" clId="{81C8F9D0-96F1-4272-A5C3-631DBA14B790}" dt="2022-12-12T12:24:20.764" v="85" actId="1037"/>
          <ac:spMkLst>
            <pc:docMk/>
            <pc:sldMk cId="646606086" sldId="296"/>
            <ac:spMk id="159" creationId="{CE94434F-4374-CD93-C9EB-60F552FADC8B}"/>
          </ac:spMkLst>
        </pc:spChg>
        <pc:spChg chg="add mod">
          <ac:chgData name="Pauline Smout" userId="3153cd80-1eee-4546-abae-f15e9d00b721" providerId="ADAL" clId="{81C8F9D0-96F1-4272-A5C3-631DBA14B790}" dt="2022-12-12T12:24:20.764" v="85" actId="1037"/>
          <ac:spMkLst>
            <pc:docMk/>
            <pc:sldMk cId="646606086" sldId="296"/>
            <ac:spMk id="160" creationId="{379C3A95-64A3-49A9-207D-F64B01D28CCA}"/>
          </ac:spMkLst>
        </pc:spChg>
        <pc:spChg chg="add mod">
          <ac:chgData name="Pauline Smout" userId="3153cd80-1eee-4546-abae-f15e9d00b721" providerId="ADAL" clId="{81C8F9D0-96F1-4272-A5C3-631DBA14B790}" dt="2022-12-12T12:24:20.764" v="85" actId="1037"/>
          <ac:spMkLst>
            <pc:docMk/>
            <pc:sldMk cId="646606086" sldId="296"/>
            <ac:spMk id="161" creationId="{26CE61EE-BD84-3610-F34D-9DDAC51AF732}"/>
          </ac:spMkLst>
        </pc:spChg>
        <pc:spChg chg="add mod">
          <ac:chgData name="Pauline Smout" userId="3153cd80-1eee-4546-abae-f15e9d00b721" providerId="ADAL" clId="{81C8F9D0-96F1-4272-A5C3-631DBA14B790}" dt="2022-12-12T12:24:20.764" v="85" actId="1037"/>
          <ac:spMkLst>
            <pc:docMk/>
            <pc:sldMk cId="646606086" sldId="296"/>
            <ac:spMk id="162" creationId="{EDF4FA24-5FBE-4EFE-421B-1455B6DBB3E0}"/>
          </ac:spMkLst>
        </pc:spChg>
        <pc:spChg chg="add mod">
          <ac:chgData name="Pauline Smout" userId="3153cd80-1eee-4546-abae-f15e9d00b721" providerId="ADAL" clId="{81C8F9D0-96F1-4272-A5C3-631DBA14B790}" dt="2022-12-12T12:24:20.764" v="85" actId="1037"/>
          <ac:spMkLst>
            <pc:docMk/>
            <pc:sldMk cId="646606086" sldId="296"/>
            <ac:spMk id="163" creationId="{AC0CEC2A-23A2-56CC-DF0D-DA1CD8A599B5}"/>
          </ac:spMkLst>
        </pc:spChg>
        <pc:grpChg chg="add del mod">
          <ac:chgData name="Pauline Smout" userId="3153cd80-1eee-4546-abae-f15e9d00b721" providerId="ADAL" clId="{81C8F9D0-96F1-4272-A5C3-631DBA14B790}" dt="2022-12-12T12:23:59.580" v="56"/>
          <ac:grpSpMkLst>
            <pc:docMk/>
            <pc:sldMk cId="646606086" sldId="296"/>
            <ac:grpSpMk id="8" creationId="{E66EA10A-0CD4-DC23-21F9-2DA1F1E2136B}"/>
          </ac:grpSpMkLst>
        </pc:grpChg>
        <pc:grpChg chg="add del mod">
          <ac:chgData name="Pauline Smout" userId="3153cd80-1eee-4546-abae-f15e9d00b721" providerId="ADAL" clId="{81C8F9D0-96F1-4272-A5C3-631DBA14B790}" dt="2022-12-12T12:24:09.704" v="62"/>
          <ac:grpSpMkLst>
            <pc:docMk/>
            <pc:sldMk cId="646606086" sldId="296"/>
            <ac:grpSpMk id="62" creationId="{6DB59826-A49C-6F81-E951-782B8523B60C}"/>
          </ac:grpSpMkLst>
        </pc:grpChg>
        <pc:grpChg chg="add mod">
          <ac:chgData name="Pauline Smout" userId="3153cd80-1eee-4546-abae-f15e9d00b721" providerId="ADAL" clId="{81C8F9D0-96F1-4272-A5C3-631DBA14B790}" dt="2022-12-12T12:24:20.764" v="85" actId="1037"/>
          <ac:grpSpMkLst>
            <pc:docMk/>
            <pc:sldMk cId="646606086" sldId="296"/>
            <ac:grpSpMk id="115" creationId="{8CF9AA1A-1931-715C-68DD-E2F15D4AD15A}"/>
          </ac:grpSpMkLst>
        </pc:grpChg>
        <pc:picChg chg="add del">
          <ac:chgData name="Pauline Smout" userId="3153cd80-1eee-4546-abae-f15e9d00b721" providerId="ADAL" clId="{81C8F9D0-96F1-4272-A5C3-631DBA14B790}" dt="2022-12-12T12:24:05.172" v="58"/>
          <ac:picMkLst>
            <pc:docMk/>
            <pc:sldMk cId="646606086" sldId="296"/>
            <ac:picMk id="57" creationId="{70CFDB9E-793E-8530-7B19-9F5BB6E4905D}"/>
          </ac:picMkLst>
        </pc:picChg>
      </pc:sldChg>
      <pc:sldChg chg="modSp new del mod">
        <pc:chgData name="Pauline Smout" userId="3153cd80-1eee-4546-abae-f15e9d00b721" providerId="ADAL" clId="{81C8F9D0-96F1-4272-A5C3-631DBA14B790}" dt="2022-12-12T12:22:20.321" v="49" actId="47"/>
        <pc:sldMkLst>
          <pc:docMk/>
          <pc:sldMk cId="3651869568" sldId="296"/>
        </pc:sldMkLst>
        <pc:spChg chg="mod">
          <ac:chgData name="Pauline Smout" userId="3153cd80-1eee-4546-abae-f15e9d00b721" providerId="ADAL" clId="{81C8F9D0-96F1-4272-A5C3-631DBA14B790}" dt="2022-12-12T12:22:18.315" v="48" actId="20577"/>
          <ac:spMkLst>
            <pc:docMk/>
            <pc:sldMk cId="3651869568" sldId="296"/>
            <ac:spMk id="2" creationId="{A9A81ECE-5996-CEF5-6A5C-E154497D2D5A}"/>
          </ac:spMkLst>
        </pc:spChg>
      </pc:sldChg>
      <pc:sldChg chg="addSp delSp modSp new mod">
        <pc:chgData name="Pauline Smout" userId="3153cd80-1eee-4546-abae-f15e9d00b721" providerId="ADAL" clId="{81C8F9D0-96F1-4272-A5C3-631DBA14B790}" dt="2022-12-12T12:26:04.482" v="100"/>
        <pc:sldMkLst>
          <pc:docMk/>
          <pc:sldMk cId="762717214" sldId="297"/>
        </pc:sldMkLst>
        <pc:spChg chg="add mod">
          <ac:chgData name="Pauline Smout" userId="3153cd80-1eee-4546-abae-f15e9d00b721" providerId="ADAL" clId="{81C8F9D0-96F1-4272-A5C3-631DBA14B790}" dt="2022-12-12T12:24:53" v="87"/>
          <ac:spMkLst>
            <pc:docMk/>
            <pc:sldMk cId="762717214" sldId="297"/>
            <ac:spMk id="2" creationId="{6F3D49D7-FFE6-54CE-98F2-53DCB2A61DF1}"/>
          </ac:spMkLst>
        </pc:spChg>
        <pc:spChg chg="add del mod">
          <ac:chgData name="Pauline Smout" userId="3153cd80-1eee-4546-abae-f15e9d00b721" providerId="ADAL" clId="{81C8F9D0-96F1-4272-A5C3-631DBA14B790}" dt="2022-12-12T12:25:13.384" v="91"/>
          <ac:spMkLst>
            <pc:docMk/>
            <pc:sldMk cId="762717214" sldId="297"/>
            <ac:spMk id="3" creationId="{9AAD0E94-7827-CF9F-EA5C-F18195544EF4}"/>
          </ac:spMkLst>
        </pc:spChg>
        <pc:spChg chg="add del mod">
          <ac:chgData name="Pauline Smout" userId="3153cd80-1eee-4546-abae-f15e9d00b721" providerId="ADAL" clId="{81C8F9D0-96F1-4272-A5C3-631DBA14B790}" dt="2022-12-12T12:25:13.384" v="91"/>
          <ac:spMkLst>
            <pc:docMk/>
            <pc:sldMk cId="762717214" sldId="297"/>
            <ac:spMk id="4" creationId="{F27FCB5C-FE89-2873-429E-2DB9D7C2E593}"/>
          </ac:spMkLst>
        </pc:spChg>
        <pc:spChg chg="add del mod">
          <ac:chgData name="Pauline Smout" userId="3153cd80-1eee-4546-abae-f15e9d00b721" providerId="ADAL" clId="{81C8F9D0-96F1-4272-A5C3-631DBA14B790}" dt="2022-12-12T12:25:13.384" v="91"/>
          <ac:spMkLst>
            <pc:docMk/>
            <pc:sldMk cId="762717214" sldId="297"/>
            <ac:spMk id="5" creationId="{E05EBBAB-F2E7-4C39-477E-A70CEEC7B3B4}"/>
          </ac:spMkLst>
        </pc:spChg>
        <pc:spChg chg="add del mod">
          <ac:chgData name="Pauline Smout" userId="3153cd80-1eee-4546-abae-f15e9d00b721" providerId="ADAL" clId="{81C8F9D0-96F1-4272-A5C3-631DBA14B790}" dt="2022-12-12T12:25:13.384" v="91"/>
          <ac:spMkLst>
            <pc:docMk/>
            <pc:sldMk cId="762717214" sldId="297"/>
            <ac:spMk id="6" creationId="{414D4751-5602-1781-E00F-3F7A6FC6BCCE}"/>
          </ac:spMkLst>
        </pc:spChg>
        <pc:spChg chg="mod">
          <ac:chgData name="Pauline Smout" userId="3153cd80-1eee-4546-abae-f15e9d00b721" providerId="ADAL" clId="{81C8F9D0-96F1-4272-A5C3-631DBA14B790}" dt="2022-12-12T12:25:09.628" v="88"/>
          <ac:spMkLst>
            <pc:docMk/>
            <pc:sldMk cId="762717214" sldId="297"/>
            <ac:spMk id="9" creationId="{4DEB0507-C968-B28E-8914-A63C9FC1719E}"/>
          </ac:spMkLst>
        </pc:spChg>
        <pc:spChg chg="mod">
          <ac:chgData name="Pauline Smout" userId="3153cd80-1eee-4546-abae-f15e9d00b721" providerId="ADAL" clId="{81C8F9D0-96F1-4272-A5C3-631DBA14B790}" dt="2022-12-12T12:25:09.628" v="88"/>
          <ac:spMkLst>
            <pc:docMk/>
            <pc:sldMk cId="762717214" sldId="297"/>
            <ac:spMk id="10" creationId="{5BB12C3D-36F2-8629-DB5C-8FD753F50700}"/>
          </ac:spMkLst>
        </pc:spChg>
        <pc:spChg chg="add del mod">
          <ac:chgData name="Pauline Smout" userId="3153cd80-1eee-4546-abae-f15e9d00b721" providerId="ADAL" clId="{81C8F9D0-96F1-4272-A5C3-631DBA14B790}" dt="2022-12-12T12:25:13.384" v="91"/>
          <ac:spMkLst>
            <pc:docMk/>
            <pc:sldMk cId="762717214" sldId="297"/>
            <ac:spMk id="11" creationId="{9552BF95-0961-CBA7-F237-E026F9081551}"/>
          </ac:spMkLst>
        </pc:spChg>
        <pc:spChg chg="add del mod">
          <ac:chgData name="Pauline Smout" userId="3153cd80-1eee-4546-abae-f15e9d00b721" providerId="ADAL" clId="{81C8F9D0-96F1-4272-A5C3-631DBA14B790}" dt="2022-12-12T12:25:13.384" v="91"/>
          <ac:spMkLst>
            <pc:docMk/>
            <pc:sldMk cId="762717214" sldId="297"/>
            <ac:spMk id="12" creationId="{9B7A4F6A-F7A6-15DA-69B1-3626E1D94C04}"/>
          </ac:spMkLst>
        </pc:spChg>
        <pc:spChg chg="add del mod">
          <ac:chgData name="Pauline Smout" userId="3153cd80-1eee-4546-abae-f15e9d00b721" providerId="ADAL" clId="{81C8F9D0-96F1-4272-A5C3-631DBA14B790}" dt="2022-12-12T12:25:13.384" v="91"/>
          <ac:spMkLst>
            <pc:docMk/>
            <pc:sldMk cId="762717214" sldId="297"/>
            <ac:spMk id="13" creationId="{E9ED0476-8C9D-18F2-3021-6D6D511A0AD8}"/>
          </ac:spMkLst>
        </pc:spChg>
        <pc:spChg chg="add del mod">
          <ac:chgData name="Pauline Smout" userId="3153cd80-1eee-4546-abae-f15e9d00b721" providerId="ADAL" clId="{81C8F9D0-96F1-4272-A5C3-631DBA14B790}" dt="2022-12-12T12:25:13.384" v="91"/>
          <ac:spMkLst>
            <pc:docMk/>
            <pc:sldMk cId="762717214" sldId="297"/>
            <ac:spMk id="14" creationId="{53A1BD7A-5E5F-9D1D-9E72-784CFBD1953A}"/>
          </ac:spMkLst>
        </pc:spChg>
        <pc:spChg chg="add del mod">
          <ac:chgData name="Pauline Smout" userId="3153cd80-1eee-4546-abae-f15e9d00b721" providerId="ADAL" clId="{81C8F9D0-96F1-4272-A5C3-631DBA14B790}" dt="2022-12-12T12:25:13.384" v="91"/>
          <ac:spMkLst>
            <pc:docMk/>
            <pc:sldMk cId="762717214" sldId="297"/>
            <ac:spMk id="15" creationId="{C4568B66-F405-1841-8744-3FF81B9C5E18}"/>
          </ac:spMkLst>
        </pc:spChg>
        <pc:spChg chg="add del mod">
          <ac:chgData name="Pauline Smout" userId="3153cd80-1eee-4546-abae-f15e9d00b721" providerId="ADAL" clId="{81C8F9D0-96F1-4272-A5C3-631DBA14B790}" dt="2022-12-12T12:25:13.384" v="91"/>
          <ac:spMkLst>
            <pc:docMk/>
            <pc:sldMk cId="762717214" sldId="297"/>
            <ac:spMk id="16" creationId="{3F70F699-C9EE-BC97-4273-4F805C51A48E}"/>
          </ac:spMkLst>
        </pc:spChg>
        <pc:spChg chg="add del mod">
          <ac:chgData name="Pauline Smout" userId="3153cd80-1eee-4546-abae-f15e9d00b721" providerId="ADAL" clId="{81C8F9D0-96F1-4272-A5C3-631DBA14B790}" dt="2022-12-12T12:25:13.384" v="91"/>
          <ac:spMkLst>
            <pc:docMk/>
            <pc:sldMk cId="762717214" sldId="297"/>
            <ac:spMk id="17" creationId="{94D00E6E-AAD7-6A7C-4A61-D82DD1F15A08}"/>
          </ac:spMkLst>
        </pc:spChg>
        <pc:spChg chg="add del mod">
          <ac:chgData name="Pauline Smout" userId="3153cd80-1eee-4546-abae-f15e9d00b721" providerId="ADAL" clId="{81C8F9D0-96F1-4272-A5C3-631DBA14B790}" dt="2022-12-12T12:25:13.384" v="91"/>
          <ac:spMkLst>
            <pc:docMk/>
            <pc:sldMk cId="762717214" sldId="297"/>
            <ac:spMk id="18" creationId="{E6FF85FF-A425-4B05-02D5-50DFCC49594F}"/>
          </ac:spMkLst>
        </pc:spChg>
        <pc:spChg chg="add del mod">
          <ac:chgData name="Pauline Smout" userId="3153cd80-1eee-4546-abae-f15e9d00b721" providerId="ADAL" clId="{81C8F9D0-96F1-4272-A5C3-631DBA14B790}" dt="2022-12-12T12:25:13.384" v="91"/>
          <ac:spMkLst>
            <pc:docMk/>
            <pc:sldMk cId="762717214" sldId="297"/>
            <ac:spMk id="19" creationId="{6EFCE8FB-19F8-F477-B60D-4EB4063933F2}"/>
          </ac:spMkLst>
        </pc:spChg>
        <pc:spChg chg="add del mod">
          <ac:chgData name="Pauline Smout" userId="3153cd80-1eee-4546-abae-f15e9d00b721" providerId="ADAL" clId="{81C8F9D0-96F1-4272-A5C3-631DBA14B790}" dt="2022-12-12T12:25:13.384" v="91"/>
          <ac:spMkLst>
            <pc:docMk/>
            <pc:sldMk cId="762717214" sldId="297"/>
            <ac:spMk id="20" creationId="{707537E3-D758-6FC0-7ED5-14C933AA4E9D}"/>
          </ac:spMkLst>
        </pc:spChg>
        <pc:spChg chg="add del mod">
          <ac:chgData name="Pauline Smout" userId="3153cd80-1eee-4546-abae-f15e9d00b721" providerId="ADAL" clId="{81C8F9D0-96F1-4272-A5C3-631DBA14B790}" dt="2022-12-12T12:25:13.384" v="91"/>
          <ac:spMkLst>
            <pc:docMk/>
            <pc:sldMk cId="762717214" sldId="297"/>
            <ac:spMk id="21" creationId="{CC9A954F-64AE-B344-72B3-015EE8FE0B82}"/>
          </ac:spMkLst>
        </pc:spChg>
        <pc:spChg chg="add del mod">
          <ac:chgData name="Pauline Smout" userId="3153cd80-1eee-4546-abae-f15e9d00b721" providerId="ADAL" clId="{81C8F9D0-96F1-4272-A5C3-631DBA14B790}" dt="2022-12-12T12:25:13.384" v="91"/>
          <ac:spMkLst>
            <pc:docMk/>
            <pc:sldMk cId="762717214" sldId="297"/>
            <ac:spMk id="22" creationId="{A3416D89-12C1-48C4-FAA7-2331DAF0FC68}"/>
          </ac:spMkLst>
        </pc:spChg>
        <pc:spChg chg="add del mod">
          <ac:chgData name="Pauline Smout" userId="3153cd80-1eee-4546-abae-f15e9d00b721" providerId="ADAL" clId="{81C8F9D0-96F1-4272-A5C3-631DBA14B790}" dt="2022-12-12T12:25:13.384" v="91"/>
          <ac:spMkLst>
            <pc:docMk/>
            <pc:sldMk cId="762717214" sldId="297"/>
            <ac:spMk id="23" creationId="{FABAB0EC-2B20-FB23-BB9D-8690B03E9691}"/>
          </ac:spMkLst>
        </pc:spChg>
        <pc:spChg chg="add del mod">
          <ac:chgData name="Pauline Smout" userId="3153cd80-1eee-4546-abae-f15e9d00b721" providerId="ADAL" clId="{81C8F9D0-96F1-4272-A5C3-631DBA14B790}" dt="2022-12-12T12:25:13.384" v="91"/>
          <ac:spMkLst>
            <pc:docMk/>
            <pc:sldMk cId="762717214" sldId="297"/>
            <ac:spMk id="24" creationId="{12CBF7EB-92E9-E52E-FE4B-4250DCE6FB76}"/>
          </ac:spMkLst>
        </pc:spChg>
        <pc:spChg chg="add del mod">
          <ac:chgData name="Pauline Smout" userId="3153cd80-1eee-4546-abae-f15e9d00b721" providerId="ADAL" clId="{81C8F9D0-96F1-4272-A5C3-631DBA14B790}" dt="2022-12-12T12:25:13.384" v="91"/>
          <ac:spMkLst>
            <pc:docMk/>
            <pc:sldMk cId="762717214" sldId="297"/>
            <ac:spMk id="25" creationId="{3ADFBF6C-F5AE-A5B1-56BC-4AB39EA32E18}"/>
          </ac:spMkLst>
        </pc:spChg>
        <pc:spChg chg="add del mod">
          <ac:chgData name="Pauline Smout" userId="3153cd80-1eee-4546-abae-f15e9d00b721" providerId="ADAL" clId="{81C8F9D0-96F1-4272-A5C3-631DBA14B790}" dt="2022-12-12T12:25:13.384" v="91"/>
          <ac:spMkLst>
            <pc:docMk/>
            <pc:sldMk cId="762717214" sldId="297"/>
            <ac:spMk id="26" creationId="{2B5422A0-9CF5-9D90-BA0A-2787A765D691}"/>
          </ac:spMkLst>
        </pc:spChg>
        <pc:spChg chg="add del mod">
          <ac:chgData name="Pauline Smout" userId="3153cd80-1eee-4546-abae-f15e9d00b721" providerId="ADAL" clId="{81C8F9D0-96F1-4272-A5C3-631DBA14B790}" dt="2022-12-12T12:25:13.384" v="91"/>
          <ac:spMkLst>
            <pc:docMk/>
            <pc:sldMk cId="762717214" sldId="297"/>
            <ac:spMk id="27" creationId="{725BF873-058D-9700-E4E2-157D0396A88B}"/>
          </ac:spMkLst>
        </pc:spChg>
        <pc:spChg chg="add del mod">
          <ac:chgData name="Pauline Smout" userId="3153cd80-1eee-4546-abae-f15e9d00b721" providerId="ADAL" clId="{81C8F9D0-96F1-4272-A5C3-631DBA14B790}" dt="2022-12-12T12:25:13.384" v="91"/>
          <ac:spMkLst>
            <pc:docMk/>
            <pc:sldMk cId="762717214" sldId="297"/>
            <ac:spMk id="28" creationId="{E7ED878A-CFA3-87C2-8BD4-D73712CD5173}"/>
          </ac:spMkLst>
        </pc:spChg>
        <pc:spChg chg="add del mod">
          <ac:chgData name="Pauline Smout" userId="3153cd80-1eee-4546-abae-f15e9d00b721" providerId="ADAL" clId="{81C8F9D0-96F1-4272-A5C3-631DBA14B790}" dt="2022-12-12T12:25:13.384" v="91"/>
          <ac:spMkLst>
            <pc:docMk/>
            <pc:sldMk cId="762717214" sldId="297"/>
            <ac:spMk id="29" creationId="{9D77B815-0515-A657-8DC8-C115657162A6}"/>
          </ac:spMkLst>
        </pc:spChg>
        <pc:spChg chg="add del mod">
          <ac:chgData name="Pauline Smout" userId="3153cd80-1eee-4546-abae-f15e9d00b721" providerId="ADAL" clId="{81C8F9D0-96F1-4272-A5C3-631DBA14B790}" dt="2022-12-12T12:25:13.384" v="91"/>
          <ac:spMkLst>
            <pc:docMk/>
            <pc:sldMk cId="762717214" sldId="297"/>
            <ac:spMk id="30" creationId="{F1BAB7C3-C1BC-3BEF-0A68-B00B1947A559}"/>
          </ac:spMkLst>
        </pc:spChg>
        <pc:spChg chg="add del mod">
          <ac:chgData name="Pauline Smout" userId="3153cd80-1eee-4546-abae-f15e9d00b721" providerId="ADAL" clId="{81C8F9D0-96F1-4272-A5C3-631DBA14B790}" dt="2022-12-12T12:25:13.384" v="91"/>
          <ac:spMkLst>
            <pc:docMk/>
            <pc:sldMk cId="762717214" sldId="297"/>
            <ac:spMk id="31" creationId="{0B64645D-9FB4-91B3-4D8E-0EC926F4E213}"/>
          </ac:spMkLst>
        </pc:spChg>
        <pc:spChg chg="add del mod">
          <ac:chgData name="Pauline Smout" userId="3153cd80-1eee-4546-abae-f15e9d00b721" providerId="ADAL" clId="{81C8F9D0-96F1-4272-A5C3-631DBA14B790}" dt="2022-12-12T12:25:13.384" v="91"/>
          <ac:spMkLst>
            <pc:docMk/>
            <pc:sldMk cId="762717214" sldId="297"/>
            <ac:spMk id="32" creationId="{95F5D403-52FA-630D-E6C4-2033BA1E02E8}"/>
          </ac:spMkLst>
        </pc:spChg>
        <pc:spChg chg="add del mod">
          <ac:chgData name="Pauline Smout" userId="3153cd80-1eee-4546-abae-f15e9d00b721" providerId="ADAL" clId="{81C8F9D0-96F1-4272-A5C3-631DBA14B790}" dt="2022-12-12T12:25:13.384" v="91"/>
          <ac:spMkLst>
            <pc:docMk/>
            <pc:sldMk cId="762717214" sldId="297"/>
            <ac:spMk id="33" creationId="{ECF16E1B-B2F6-1495-2C97-5AC8D756957D}"/>
          </ac:spMkLst>
        </pc:spChg>
        <pc:spChg chg="add del mod">
          <ac:chgData name="Pauline Smout" userId="3153cd80-1eee-4546-abae-f15e9d00b721" providerId="ADAL" clId="{81C8F9D0-96F1-4272-A5C3-631DBA14B790}" dt="2022-12-12T12:25:13.384" v="91"/>
          <ac:spMkLst>
            <pc:docMk/>
            <pc:sldMk cId="762717214" sldId="297"/>
            <ac:spMk id="34" creationId="{9D76D324-FFE9-826C-935E-8C893F7DFB06}"/>
          </ac:spMkLst>
        </pc:spChg>
        <pc:spChg chg="add del mod">
          <ac:chgData name="Pauline Smout" userId="3153cd80-1eee-4546-abae-f15e9d00b721" providerId="ADAL" clId="{81C8F9D0-96F1-4272-A5C3-631DBA14B790}" dt="2022-12-12T12:25:13.384" v="91"/>
          <ac:spMkLst>
            <pc:docMk/>
            <pc:sldMk cId="762717214" sldId="297"/>
            <ac:spMk id="35" creationId="{6648AC9D-3826-D20A-A10A-D0AB5BEC0A85}"/>
          </ac:spMkLst>
        </pc:spChg>
        <pc:spChg chg="add del mod">
          <ac:chgData name="Pauline Smout" userId="3153cd80-1eee-4546-abae-f15e9d00b721" providerId="ADAL" clId="{81C8F9D0-96F1-4272-A5C3-631DBA14B790}" dt="2022-12-12T12:25:13.384" v="91"/>
          <ac:spMkLst>
            <pc:docMk/>
            <pc:sldMk cId="762717214" sldId="297"/>
            <ac:spMk id="36" creationId="{A89CEFC5-4535-DF63-1EE2-9BFE6F791A76}"/>
          </ac:spMkLst>
        </pc:spChg>
        <pc:spChg chg="add del mod">
          <ac:chgData name="Pauline Smout" userId="3153cd80-1eee-4546-abae-f15e9d00b721" providerId="ADAL" clId="{81C8F9D0-96F1-4272-A5C3-631DBA14B790}" dt="2022-12-12T12:25:13.384" v="91"/>
          <ac:spMkLst>
            <pc:docMk/>
            <pc:sldMk cId="762717214" sldId="297"/>
            <ac:spMk id="37" creationId="{E6F62414-3CF0-E774-D09E-43E757FE6620}"/>
          </ac:spMkLst>
        </pc:spChg>
        <pc:spChg chg="add del mod">
          <ac:chgData name="Pauline Smout" userId="3153cd80-1eee-4546-abae-f15e9d00b721" providerId="ADAL" clId="{81C8F9D0-96F1-4272-A5C3-631DBA14B790}" dt="2022-12-12T12:25:13.384" v="91"/>
          <ac:spMkLst>
            <pc:docMk/>
            <pc:sldMk cId="762717214" sldId="297"/>
            <ac:spMk id="38" creationId="{C584164F-1302-18D5-026A-322F0D735A59}"/>
          </ac:spMkLst>
        </pc:spChg>
        <pc:spChg chg="add del mod">
          <ac:chgData name="Pauline Smout" userId="3153cd80-1eee-4546-abae-f15e9d00b721" providerId="ADAL" clId="{81C8F9D0-96F1-4272-A5C3-631DBA14B790}" dt="2022-12-12T12:25:13.384" v="91"/>
          <ac:spMkLst>
            <pc:docMk/>
            <pc:sldMk cId="762717214" sldId="297"/>
            <ac:spMk id="39" creationId="{BB0E6D6B-9E88-CC39-8F4E-D9BB31787051}"/>
          </ac:spMkLst>
        </pc:spChg>
        <pc:spChg chg="add del mod">
          <ac:chgData name="Pauline Smout" userId="3153cd80-1eee-4546-abae-f15e9d00b721" providerId="ADAL" clId="{81C8F9D0-96F1-4272-A5C3-631DBA14B790}" dt="2022-12-12T12:25:13.384" v="91"/>
          <ac:spMkLst>
            <pc:docMk/>
            <pc:sldMk cId="762717214" sldId="297"/>
            <ac:spMk id="40" creationId="{A2FBBF0A-CE31-A8B7-4B5C-4106D2F7CC91}"/>
          </ac:spMkLst>
        </pc:spChg>
        <pc:spChg chg="add del mod">
          <ac:chgData name="Pauline Smout" userId="3153cd80-1eee-4546-abae-f15e9d00b721" providerId="ADAL" clId="{81C8F9D0-96F1-4272-A5C3-631DBA14B790}" dt="2022-12-12T12:25:13.384" v="91"/>
          <ac:spMkLst>
            <pc:docMk/>
            <pc:sldMk cId="762717214" sldId="297"/>
            <ac:spMk id="41" creationId="{A49A73DC-0220-59C9-13F0-A13128688B42}"/>
          </ac:spMkLst>
        </pc:spChg>
        <pc:spChg chg="add del mod">
          <ac:chgData name="Pauline Smout" userId="3153cd80-1eee-4546-abae-f15e9d00b721" providerId="ADAL" clId="{81C8F9D0-96F1-4272-A5C3-631DBA14B790}" dt="2022-12-12T12:25:13.384" v="91"/>
          <ac:spMkLst>
            <pc:docMk/>
            <pc:sldMk cId="762717214" sldId="297"/>
            <ac:spMk id="42" creationId="{B3B164E2-9B45-F966-9555-51FD4F1C37BC}"/>
          </ac:spMkLst>
        </pc:spChg>
        <pc:spChg chg="add del mod">
          <ac:chgData name="Pauline Smout" userId="3153cd80-1eee-4546-abae-f15e9d00b721" providerId="ADAL" clId="{81C8F9D0-96F1-4272-A5C3-631DBA14B790}" dt="2022-12-12T12:25:13.384" v="91"/>
          <ac:spMkLst>
            <pc:docMk/>
            <pc:sldMk cId="762717214" sldId="297"/>
            <ac:spMk id="43" creationId="{22C9843A-B775-6F92-3B8C-9FE9F4A5F8D4}"/>
          </ac:spMkLst>
        </pc:spChg>
        <pc:spChg chg="add del mod">
          <ac:chgData name="Pauline Smout" userId="3153cd80-1eee-4546-abae-f15e9d00b721" providerId="ADAL" clId="{81C8F9D0-96F1-4272-A5C3-631DBA14B790}" dt="2022-12-12T12:25:13.384" v="91"/>
          <ac:spMkLst>
            <pc:docMk/>
            <pc:sldMk cId="762717214" sldId="297"/>
            <ac:spMk id="44" creationId="{478ACCE3-C3A8-54CD-4F8D-8D0F6F24583A}"/>
          </ac:spMkLst>
        </pc:spChg>
        <pc:spChg chg="add del mod">
          <ac:chgData name="Pauline Smout" userId="3153cd80-1eee-4546-abae-f15e9d00b721" providerId="ADAL" clId="{81C8F9D0-96F1-4272-A5C3-631DBA14B790}" dt="2022-12-12T12:25:13.384" v="91"/>
          <ac:spMkLst>
            <pc:docMk/>
            <pc:sldMk cId="762717214" sldId="297"/>
            <ac:spMk id="45" creationId="{671A2640-5893-0D2C-3C26-454D09757AC4}"/>
          </ac:spMkLst>
        </pc:spChg>
        <pc:spChg chg="add del mod">
          <ac:chgData name="Pauline Smout" userId="3153cd80-1eee-4546-abae-f15e9d00b721" providerId="ADAL" clId="{81C8F9D0-96F1-4272-A5C3-631DBA14B790}" dt="2022-12-12T12:25:13.384" v="91"/>
          <ac:spMkLst>
            <pc:docMk/>
            <pc:sldMk cId="762717214" sldId="297"/>
            <ac:spMk id="46" creationId="{EFD952EE-6726-D0C7-FC21-53030435337B}"/>
          </ac:spMkLst>
        </pc:spChg>
        <pc:spChg chg="add del mod">
          <ac:chgData name="Pauline Smout" userId="3153cd80-1eee-4546-abae-f15e9d00b721" providerId="ADAL" clId="{81C8F9D0-96F1-4272-A5C3-631DBA14B790}" dt="2022-12-12T12:25:13.384" v="91"/>
          <ac:spMkLst>
            <pc:docMk/>
            <pc:sldMk cId="762717214" sldId="297"/>
            <ac:spMk id="47" creationId="{44D298AA-B633-F350-7E15-4F457158442C}"/>
          </ac:spMkLst>
        </pc:spChg>
        <pc:spChg chg="add del mod">
          <ac:chgData name="Pauline Smout" userId="3153cd80-1eee-4546-abae-f15e9d00b721" providerId="ADAL" clId="{81C8F9D0-96F1-4272-A5C3-631DBA14B790}" dt="2022-12-12T12:25:13.384" v="91"/>
          <ac:spMkLst>
            <pc:docMk/>
            <pc:sldMk cId="762717214" sldId="297"/>
            <ac:spMk id="48" creationId="{4CDC4936-FE98-B273-20A4-4FEFCDDF4896}"/>
          </ac:spMkLst>
        </pc:spChg>
        <pc:spChg chg="add del mod">
          <ac:chgData name="Pauline Smout" userId="3153cd80-1eee-4546-abae-f15e9d00b721" providerId="ADAL" clId="{81C8F9D0-96F1-4272-A5C3-631DBA14B790}" dt="2022-12-12T12:25:13.384" v="91"/>
          <ac:spMkLst>
            <pc:docMk/>
            <pc:sldMk cId="762717214" sldId="297"/>
            <ac:spMk id="49" creationId="{C124AE87-4DC7-6668-F460-0FE225A2DFA2}"/>
          </ac:spMkLst>
        </pc:spChg>
        <pc:spChg chg="add del mod">
          <ac:chgData name="Pauline Smout" userId="3153cd80-1eee-4546-abae-f15e9d00b721" providerId="ADAL" clId="{81C8F9D0-96F1-4272-A5C3-631DBA14B790}" dt="2022-12-12T12:25:13.384" v="91"/>
          <ac:spMkLst>
            <pc:docMk/>
            <pc:sldMk cId="762717214" sldId="297"/>
            <ac:spMk id="50" creationId="{802DAAAA-FAE0-F9EC-93E4-0743A210432F}"/>
          </ac:spMkLst>
        </pc:spChg>
        <pc:spChg chg="add del mod">
          <ac:chgData name="Pauline Smout" userId="3153cd80-1eee-4546-abae-f15e9d00b721" providerId="ADAL" clId="{81C8F9D0-96F1-4272-A5C3-631DBA14B790}" dt="2022-12-12T12:25:13.384" v="91"/>
          <ac:spMkLst>
            <pc:docMk/>
            <pc:sldMk cId="762717214" sldId="297"/>
            <ac:spMk id="51" creationId="{3D2CD884-63C1-7E6C-6F36-36B7722CA44C}"/>
          </ac:spMkLst>
        </pc:spChg>
        <pc:spChg chg="add del mod">
          <ac:chgData name="Pauline Smout" userId="3153cd80-1eee-4546-abae-f15e9d00b721" providerId="ADAL" clId="{81C8F9D0-96F1-4272-A5C3-631DBA14B790}" dt="2022-12-12T12:25:13.384" v="91"/>
          <ac:spMkLst>
            <pc:docMk/>
            <pc:sldMk cId="762717214" sldId="297"/>
            <ac:spMk id="52" creationId="{FB844395-94D5-928B-1186-4A12285C79C8}"/>
          </ac:spMkLst>
        </pc:spChg>
        <pc:spChg chg="add del mod">
          <ac:chgData name="Pauline Smout" userId="3153cd80-1eee-4546-abae-f15e9d00b721" providerId="ADAL" clId="{81C8F9D0-96F1-4272-A5C3-631DBA14B790}" dt="2022-12-12T12:25:13.384" v="91"/>
          <ac:spMkLst>
            <pc:docMk/>
            <pc:sldMk cId="762717214" sldId="297"/>
            <ac:spMk id="53" creationId="{A1692A47-51F6-BF20-9773-14D4E0A39A11}"/>
          </ac:spMkLst>
        </pc:spChg>
        <pc:spChg chg="add del mod">
          <ac:chgData name="Pauline Smout" userId="3153cd80-1eee-4546-abae-f15e9d00b721" providerId="ADAL" clId="{81C8F9D0-96F1-4272-A5C3-631DBA14B790}" dt="2022-12-12T12:25:13.384" v="91"/>
          <ac:spMkLst>
            <pc:docMk/>
            <pc:sldMk cId="762717214" sldId="297"/>
            <ac:spMk id="54" creationId="{DAD6EE8F-043A-4CFF-05D3-7449247313FD}"/>
          </ac:spMkLst>
        </pc:spChg>
        <pc:spChg chg="add del mod">
          <ac:chgData name="Pauline Smout" userId="3153cd80-1eee-4546-abae-f15e9d00b721" providerId="ADAL" clId="{81C8F9D0-96F1-4272-A5C3-631DBA14B790}" dt="2022-12-12T12:25:13.384" v="91"/>
          <ac:spMkLst>
            <pc:docMk/>
            <pc:sldMk cId="762717214" sldId="297"/>
            <ac:spMk id="55" creationId="{C80B01DC-171F-4310-0FEC-FCE68862DE42}"/>
          </ac:spMkLst>
        </pc:spChg>
        <pc:spChg chg="add del mod">
          <ac:chgData name="Pauline Smout" userId="3153cd80-1eee-4546-abae-f15e9d00b721" providerId="ADAL" clId="{81C8F9D0-96F1-4272-A5C3-631DBA14B790}" dt="2022-12-12T12:25:13.384" v="91"/>
          <ac:spMkLst>
            <pc:docMk/>
            <pc:sldMk cId="762717214" sldId="297"/>
            <ac:spMk id="56" creationId="{8FE4EBAC-EC8D-0A6D-5F7A-3F59C4BE63D6}"/>
          </ac:spMkLst>
        </pc:spChg>
        <pc:spChg chg="add mod">
          <ac:chgData name="Pauline Smout" userId="3153cd80-1eee-4546-abae-f15e9d00b721" providerId="ADAL" clId="{81C8F9D0-96F1-4272-A5C3-631DBA14B790}" dt="2022-12-12T12:25:45.147" v="96" actId="207"/>
          <ac:spMkLst>
            <pc:docMk/>
            <pc:sldMk cId="762717214" sldId="297"/>
            <ac:spMk id="57" creationId="{C0F3EBCE-FDCA-695A-997E-8EA73617A63D}"/>
          </ac:spMkLst>
        </pc:spChg>
        <pc:spChg chg="add mod">
          <ac:chgData name="Pauline Smout" userId="3153cd80-1eee-4546-abae-f15e9d00b721" providerId="ADAL" clId="{81C8F9D0-96F1-4272-A5C3-631DBA14B790}" dt="2022-12-12T12:25:45.147" v="96" actId="207"/>
          <ac:spMkLst>
            <pc:docMk/>
            <pc:sldMk cId="762717214" sldId="297"/>
            <ac:spMk id="58" creationId="{D40422C3-F0EC-575D-1C98-D41794B20917}"/>
          </ac:spMkLst>
        </pc:spChg>
        <pc:spChg chg="add mod">
          <ac:chgData name="Pauline Smout" userId="3153cd80-1eee-4546-abae-f15e9d00b721" providerId="ADAL" clId="{81C8F9D0-96F1-4272-A5C3-631DBA14B790}" dt="2022-12-12T12:25:45.147" v="96" actId="207"/>
          <ac:spMkLst>
            <pc:docMk/>
            <pc:sldMk cId="762717214" sldId="297"/>
            <ac:spMk id="59" creationId="{9D0238AD-9AD8-33A3-8F8E-887BA96717F5}"/>
          </ac:spMkLst>
        </pc:spChg>
        <pc:spChg chg="add mod">
          <ac:chgData name="Pauline Smout" userId="3153cd80-1eee-4546-abae-f15e9d00b721" providerId="ADAL" clId="{81C8F9D0-96F1-4272-A5C3-631DBA14B790}" dt="2022-12-12T12:25:45.147" v="96" actId="207"/>
          <ac:spMkLst>
            <pc:docMk/>
            <pc:sldMk cId="762717214" sldId="297"/>
            <ac:spMk id="60" creationId="{C034150A-9168-4B00-C6E3-FDFF8A0EB6DD}"/>
          </ac:spMkLst>
        </pc:spChg>
        <pc:spChg chg="mod">
          <ac:chgData name="Pauline Smout" userId="3153cd80-1eee-4546-abae-f15e9d00b721" providerId="ADAL" clId="{81C8F9D0-96F1-4272-A5C3-631DBA14B790}" dt="2022-12-12T12:25:45.147" v="96" actId="207"/>
          <ac:spMkLst>
            <pc:docMk/>
            <pc:sldMk cId="762717214" sldId="297"/>
            <ac:spMk id="63" creationId="{E923A047-78DF-B7D4-8230-EC949193FEF2}"/>
          </ac:spMkLst>
        </pc:spChg>
        <pc:spChg chg="mod">
          <ac:chgData name="Pauline Smout" userId="3153cd80-1eee-4546-abae-f15e9d00b721" providerId="ADAL" clId="{81C8F9D0-96F1-4272-A5C3-631DBA14B790}" dt="2022-12-12T12:25:45.147" v="96" actId="207"/>
          <ac:spMkLst>
            <pc:docMk/>
            <pc:sldMk cId="762717214" sldId="297"/>
            <ac:spMk id="64" creationId="{745BA2AC-BE3E-4FF2-99DE-B5CDFDD7B1B1}"/>
          </ac:spMkLst>
        </pc:spChg>
        <pc:spChg chg="add mod">
          <ac:chgData name="Pauline Smout" userId="3153cd80-1eee-4546-abae-f15e9d00b721" providerId="ADAL" clId="{81C8F9D0-96F1-4272-A5C3-631DBA14B790}" dt="2022-12-12T12:25:45.147" v="96" actId="207"/>
          <ac:spMkLst>
            <pc:docMk/>
            <pc:sldMk cId="762717214" sldId="297"/>
            <ac:spMk id="65" creationId="{CA123E24-5143-B2CE-01CC-5B2F73487954}"/>
          </ac:spMkLst>
        </pc:spChg>
        <pc:spChg chg="add mod">
          <ac:chgData name="Pauline Smout" userId="3153cd80-1eee-4546-abae-f15e9d00b721" providerId="ADAL" clId="{81C8F9D0-96F1-4272-A5C3-631DBA14B790}" dt="2022-12-12T12:25:45.147" v="96" actId="207"/>
          <ac:spMkLst>
            <pc:docMk/>
            <pc:sldMk cId="762717214" sldId="297"/>
            <ac:spMk id="66" creationId="{BD06E82A-E71E-760D-2654-9DE48926F8BE}"/>
          </ac:spMkLst>
        </pc:spChg>
        <pc:spChg chg="add mod">
          <ac:chgData name="Pauline Smout" userId="3153cd80-1eee-4546-abae-f15e9d00b721" providerId="ADAL" clId="{81C8F9D0-96F1-4272-A5C3-631DBA14B790}" dt="2022-12-12T12:25:45.147" v="96" actId="207"/>
          <ac:spMkLst>
            <pc:docMk/>
            <pc:sldMk cId="762717214" sldId="297"/>
            <ac:spMk id="67" creationId="{F81601BF-B6D8-1FA9-029C-913528DFBB4C}"/>
          </ac:spMkLst>
        </pc:spChg>
        <pc:spChg chg="add mod">
          <ac:chgData name="Pauline Smout" userId="3153cd80-1eee-4546-abae-f15e9d00b721" providerId="ADAL" clId="{81C8F9D0-96F1-4272-A5C3-631DBA14B790}" dt="2022-12-12T12:25:45.147" v="96" actId="207"/>
          <ac:spMkLst>
            <pc:docMk/>
            <pc:sldMk cId="762717214" sldId="297"/>
            <ac:spMk id="68" creationId="{30820181-5781-4DEA-1E39-BA34505FCAB0}"/>
          </ac:spMkLst>
        </pc:spChg>
        <pc:spChg chg="add mod">
          <ac:chgData name="Pauline Smout" userId="3153cd80-1eee-4546-abae-f15e9d00b721" providerId="ADAL" clId="{81C8F9D0-96F1-4272-A5C3-631DBA14B790}" dt="2022-12-12T12:25:45.147" v="96" actId="207"/>
          <ac:spMkLst>
            <pc:docMk/>
            <pc:sldMk cId="762717214" sldId="297"/>
            <ac:spMk id="69" creationId="{A4C22BE1-6538-43F4-558D-526788BEB08F}"/>
          </ac:spMkLst>
        </pc:spChg>
        <pc:spChg chg="add mod">
          <ac:chgData name="Pauline Smout" userId="3153cd80-1eee-4546-abae-f15e9d00b721" providerId="ADAL" clId="{81C8F9D0-96F1-4272-A5C3-631DBA14B790}" dt="2022-12-12T12:25:45.147" v="96" actId="207"/>
          <ac:spMkLst>
            <pc:docMk/>
            <pc:sldMk cId="762717214" sldId="297"/>
            <ac:spMk id="70" creationId="{2516F9F6-287B-AB19-8A54-1853352B13B1}"/>
          </ac:spMkLst>
        </pc:spChg>
        <pc:spChg chg="add mod">
          <ac:chgData name="Pauline Smout" userId="3153cd80-1eee-4546-abae-f15e9d00b721" providerId="ADAL" clId="{81C8F9D0-96F1-4272-A5C3-631DBA14B790}" dt="2022-12-12T12:25:45.147" v="96" actId="207"/>
          <ac:spMkLst>
            <pc:docMk/>
            <pc:sldMk cId="762717214" sldId="297"/>
            <ac:spMk id="71" creationId="{BE46BFC8-CFD1-B071-47D9-12F35C52DF69}"/>
          </ac:spMkLst>
        </pc:spChg>
        <pc:spChg chg="add mod">
          <ac:chgData name="Pauline Smout" userId="3153cd80-1eee-4546-abae-f15e9d00b721" providerId="ADAL" clId="{81C8F9D0-96F1-4272-A5C3-631DBA14B790}" dt="2022-12-12T12:25:45.147" v="96" actId="207"/>
          <ac:spMkLst>
            <pc:docMk/>
            <pc:sldMk cId="762717214" sldId="297"/>
            <ac:spMk id="72" creationId="{B5DDF0A4-583F-3E99-C966-0FF6B57BDCBC}"/>
          </ac:spMkLst>
        </pc:spChg>
        <pc:spChg chg="add mod">
          <ac:chgData name="Pauline Smout" userId="3153cd80-1eee-4546-abae-f15e9d00b721" providerId="ADAL" clId="{81C8F9D0-96F1-4272-A5C3-631DBA14B790}" dt="2022-12-12T12:25:45.147" v="96" actId="207"/>
          <ac:spMkLst>
            <pc:docMk/>
            <pc:sldMk cId="762717214" sldId="297"/>
            <ac:spMk id="73" creationId="{65A327EA-1507-5CD2-DA5B-3D7F76DE3648}"/>
          </ac:spMkLst>
        </pc:spChg>
        <pc:spChg chg="add mod">
          <ac:chgData name="Pauline Smout" userId="3153cd80-1eee-4546-abae-f15e9d00b721" providerId="ADAL" clId="{81C8F9D0-96F1-4272-A5C3-631DBA14B790}" dt="2022-12-12T12:25:45.147" v="96" actId="207"/>
          <ac:spMkLst>
            <pc:docMk/>
            <pc:sldMk cId="762717214" sldId="297"/>
            <ac:spMk id="74" creationId="{331A0460-F050-58C0-7DDD-25735C1B0E47}"/>
          </ac:spMkLst>
        </pc:spChg>
        <pc:spChg chg="add mod">
          <ac:chgData name="Pauline Smout" userId="3153cd80-1eee-4546-abae-f15e9d00b721" providerId="ADAL" clId="{81C8F9D0-96F1-4272-A5C3-631DBA14B790}" dt="2022-12-12T12:25:45.147" v="96" actId="207"/>
          <ac:spMkLst>
            <pc:docMk/>
            <pc:sldMk cId="762717214" sldId="297"/>
            <ac:spMk id="75" creationId="{52F270CC-612E-25CA-BCB7-2BB8F2445711}"/>
          </ac:spMkLst>
        </pc:spChg>
        <pc:spChg chg="add mod">
          <ac:chgData name="Pauline Smout" userId="3153cd80-1eee-4546-abae-f15e9d00b721" providerId="ADAL" clId="{81C8F9D0-96F1-4272-A5C3-631DBA14B790}" dt="2022-12-12T12:25:45.147" v="96" actId="207"/>
          <ac:spMkLst>
            <pc:docMk/>
            <pc:sldMk cId="762717214" sldId="297"/>
            <ac:spMk id="76" creationId="{040AFC3E-4714-06E8-F753-EE2A07A33547}"/>
          </ac:spMkLst>
        </pc:spChg>
        <pc:spChg chg="add mod">
          <ac:chgData name="Pauline Smout" userId="3153cd80-1eee-4546-abae-f15e9d00b721" providerId="ADAL" clId="{81C8F9D0-96F1-4272-A5C3-631DBA14B790}" dt="2022-12-12T12:25:45.147" v="96" actId="207"/>
          <ac:spMkLst>
            <pc:docMk/>
            <pc:sldMk cId="762717214" sldId="297"/>
            <ac:spMk id="77" creationId="{F9A12F4A-91FA-C745-230C-2F169268255F}"/>
          </ac:spMkLst>
        </pc:spChg>
        <pc:spChg chg="add mod">
          <ac:chgData name="Pauline Smout" userId="3153cd80-1eee-4546-abae-f15e9d00b721" providerId="ADAL" clId="{81C8F9D0-96F1-4272-A5C3-631DBA14B790}" dt="2022-12-12T12:25:45.147" v="96" actId="207"/>
          <ac:spMkLst>
            <pc:docMk/>
            <pc:sldMk cId="762717214" sldId="297"/>
            <ac:spMk id="78" creationId="{5C1F215F-8371-2105-D12C-399B26B8035F}"/>
          </ac:spMkLst>
        </pc:spChg>
        <pc:spChg chg="add mod">
          <ac:chgData name="Pauline Smout" userId="3153cd80-1eee-4546-abae-f15e9d00b721" providerId="ADAL" clId="{81C8F9D0-96F1-4272-A5C3-631DBA14B790}" dt="2022-12-12T12:25:45.147" v="96" actId="207"/>
          <ac:spMkLst>
            <pc:docMk/>
            <pc:sldMk cId="762717214" sldId="297"/>
            <ac:spMk id="79" creationId="{C831B022-7B0F-553E-5DA0-79B5B5370CA1}"/>
          </ac:spMkLst>
        </pc:spChg>
        <pc:spChg chg="add mod">
          <ac:chgData name="Pauline Smout" userId="3153cd80-1eee-4546-abae-f15e9d00b721" providerId="ADAL" clId="{81C8F9D0-96F1-4272-A5C3-631DBA14B790}" dt="2022-12-12T12:25:45.147" v="96" actId="207"/>
          <ac:spMkLst>
            <pc:docMk/>
            <pc:sldMk cId="762717214" sldId="297"/>
            <ac:spMk id="80" creationId="{51ADA9C7-C3F3-D47F-F63C-9AA0ABA71631}"/>
          </ac:spMkLst>
        </pc:spChg>
        <pc:spChg chg="add mod">
          <ac:chgData name="Pauline Smout" userId="3153cd80-1eee-4546-abae-f15e9d00b721" providerId="ADAL" clId="{81C8F9D0-96F1-4272-A5C3-631DBA14B790}" dt="2022-12-12T12:25:45.147" v="96" actId="207"/>
          <ac:spMkLst>
            <pc:docMk/>
            <pc:sldMk cId="762717214" sldId="297"/>
            <ac:spMk id="81" creationId="{FB18FB8C-70E3-2117-D3AD-A88E1B124550}"/>
          </ac:spMkLst>
        </pc:spChg>
        <pc:spChg chg="add mod">
          <ac:chgData name="Pauline Smout" userId="3153cd80-1eee-4546-abae-f15e9d00b721" providerId="ADAL" clId="{81C8F9D0-96F1-4272-A5C3-631DBA14B790}" dt="2022-12-12T12:25:45.147" v="96" actId="207"/>
          <ac:spMkLst>
            <pc:docMk/>
            <pc:sldMk cId="762717214" sldId="297"/>
            <ac:spMk id="82" creationId="{2176E263-00BA-CBD8-3B2A-529F3346184B}"/>
          </ac:spMkLst>
        </pc:spChg>
        <pc:spChg chg="add mod">
          <ac:chgData name="Pauline Smout" userId="3153cd80-1eee-4546-abae-f15e9d00b721" providerId="ADAL" clId="{81C8F9D0-96F1-4272-A5C3-631DBA14B790}" dt="2022-12-12T12:25:45.147" v="96" actId="207"/>
          <ac:spMkLst>
            <pc:docMk/>
            <pc:sldMk cId="762717214" sldId="297"/>
            <ac:spMk id="83" creationId="{11AC053B-622E-3CF2-6512-F511FF048A1B}"/>
          </ac:spMkLst>
        </pc:spChg>
        <pc:spChg chg="add mod">
          <ac:chgData name="Pauline Smout" userId="3153cd80-1eee-4546-abae-f15e9d00b721" providerId="ADAL" clId="{81C8F9D0-96F1-4272-A5C3-631DBA14B790}" dt="2022-12-12T12:25:45.147" v="96" actId="207"/>
          <ac:spMkLst>
            <pc:docMk/>
            <pc:sldMk cId="762717214" sldId="297"/>
            <ac:spMk id="84" creationId="{76F304F3-96A0-422B-3029-FDFEF86C2402}"/>
          </ac:spMkLst>
        </pc:spChg>
        <pc:spChg chg="add mod">
          <ac:chgData name="Pauline Smout" userId="3153cd80-1eee-4546-abae-f15e9d00b721" providerId="ADAL" clId="{81C8F9D0-96F1-4272-A5C3-631DBA14B790}" dt="2022-12-12T12:25:45.147" v="96" actId="207"/>
          <ac:spMkLst>
            <pc:docMk/>
            <pc:sldMk cId="762717214" sldId="297"/>
            <ac:spMk id="85" creationId="{E5E8BBC7-6ADE-A6CC-712F-9CC1B3D6463C}"/>
          </ac:spMkLst>
        </pc:spChg>
        <pc:spChg chg="add mod">
          <ac:chgData name="Pauline Smout" userId="3153cd80-1eee-4546-abae-f15e9d00b721" providerId="ADAL" clId="{81C8F9D0-96F1-4272-A5C3-631DBA14B790}" dt="2022-12-12T12:25:45.147" v="96" actId="207"/>
          <ac:spMkLst>
            <pc:docMk/>
            <pc:sldMk cId="762717214" sldId="297"/>
            <ac:spMk id="86" creationId="{B4D80D4B-467E-9A43-9460-3229EEDE5A91}"/>
          </ac:spMkLst>
        </pc:spChg>
        <pc:spChg chg="add mod">
          <ac:chgData name="Pauline Smout" userId="3153cd80-1eee-4546-abae-f15e9d00b721" providerId="ADAL" clId="{81C8F9D0-96F1-4272-A5C3-631DBA14B790}" dt="2022-12-12T12:25:45.147" v="96" actId="207"/>
          <ac:spMkLst>
            <pc:docMk/>
            <pc:sldMk cId="762717214" sldId="297"/>
            <ac:spMk id="87" creationId="{4B3E1462-6A37-9B9F-9F1D-A6872A008718}"/>
          </ac:spMkLst>
        </pc:spChg>
        <pc:spChg chg="add mod">
          <ac:chgData name="Pauline Smout" userId="3153cd80-1eee-4546-abae-f15e9d00b721" providerId="ADAL" clId="{81C8F9D0-96F1-4272-A5C3-631DBA14B790}" dt="2022-12-12T12:25:45.147" v="96" actId="207"/>
          <ac:spMkLst>
            <pc:docMk/>
            <pc:sldMk cId="762717214" sldId="297"/>
            <ac:spMk id="88" creationId="{BBEC990D-6E1E-9DFB-66DA-0D6B288F78BA}"/>
          </ac:spMkLst>
        </pc:spChg>
        <pc:spChg chg="add mod">
          <ac:chgData name="Pauline Smout" userId="3153cd80-1eee-4546-abae-f15e9d00b721" providerId="ADAL" clId="{81C8F9D0-96F1-4272-A5C3-631DBA14B790}" dt="2022-12-12T12:25:45.147" v="96" actId="207"/>
          <ac:spMkLst>
            <pc:docMk/>
            <pc:sldMk cId="762717214" sldId="297"/>
            <ac:spMk id="89" creationId="{C571B0C6-D9DC-37C5-41A0-4527257A999D}"/>
          </ac:spMkLst>
        </pc:spChg>
        <pc:spChg chg="add mod">
          <ac:chgData name="Pauline Smout" userId="3153cd80-1eee-4546-abae-f15e9d00b721" providerId="ADAL" clId="{81C8F9D0-96F1-4272-A5C3-631DBA14B790}" dt="2022-12-12T12:25:45.147" v="96" actId="207"/>
          <ac:spMkLst>
            <pc:docMk/>
            <pc:sldMk cId="762717214" sldId="297"/>
            <ac:spMk id="90" creationId="{4140A5B8-2B2F-65FC-3B7F-B3AAFECF95FA}"/>
          </ac:spMkLst>
        </pc:spChg>
        <pc:spChg chg="add mod">
          <ac:chgData name="Pauline Smout" userId="3153cd80-1eee-4546-abae-f15e9d00b721" providerId="ADAL" clId="{81C8F9D0-96F1-4272-A5C3-631DBA14B790}" dt="2022-12-12T12:25:45.147" v="96" actId="207"/>
          <ac:spMkLst>
            <pc:docMk/>
            <pc:sldMk cId="762717214" sldId="297"/>
            <ac:spMk id="91" creationId="{E9854C9D-B469-46E7-1E91-907C629520F2}"/>
          </ac:spMkLst>
        </pc:spChg>
        <pc:spChg chg="add mod">
          <ac:chgData name="Pauline Smout" userId="3153cd80-1eee-4546-abae-f15e9d00b721" providerId="ADAL" clId="{81C8F9D0-96F1-4272-A5C3-631DBA14B790}" dt="2022-12-12T12:25:45.147" v="96" actId="207"/>
          <ac:spMkLst>
            <pc:docMk/>
            <pc:sldMk cId="762717214" sldId="297"/>
            <ac:spMk id="92" creationId="{A6F18743-4D2C-32E2-1A82-B855F54053F7}"/>
          </ac:spMkLst>
        </pc:spChg>
        <pc:spChg chg="add mod">
          <ac:chgData name="Pauline Smout" userId="3153cd80-1eee-4546-abae-f15e9d00b721" providerId="ADAL" clId="{81C8F9D0-96F1-4272-A5C3-631DBA14B790}" dt="2022-12-12T12:25:45.147" v="96" actId="207"/>
          <ac:spMkLst>
            <pc:docMk/>
            <pc:sldMk cId="762717214" sldId="297"/>
            <ac:spMk id="93" creationId="{B1D8DA60-B325-5D37-14FE-AC932541CD22}"/>
          </ac:spMkLst>
        </pc:spChg>
        <pc:spChg chg="add mod">
          <ac:chgData name="Pauline Smout" userId="3153cd80-1eee-4546-abae-f15e9d00b721" providerId="ADAL" clId="{81C8F9D0-96F1-4272-A5C3-631DBA14B790}" dt="2022-12-12T12:25:45.147" v="96" actId="207"/>
          <ac:spMkLst>
            <pc:docMk/>
            <pc:sldMk cId="762717214" sldId="297"/>
            <ac:spMk id="94" creationId="{DEC13FBB-7807-D8DE-C3FA-CA6B2F528CD1}"/>
          </ac:spMkLst>
        </pc:spChg>
        <pc:spChg chg="add mod">
          <ac:chgData name="Pauline Smout" userId="3153cd80-1eee-4546-abae-f15e9d00b721" providerId="ADAL" clId="{81C8F9D0-96F1-4272-A5C3-631DBA14B790}" dt="2022-12-12T12:25:45.147" v="96" actId="207"/>
          <ac:spMkLst>
            <pc:docMk/>
            <pc:sldMk cId="762717214" sldId="297"/>
            <ac:spMk id="95" creationId="{54C0F31D-8D77-DE06-99D6-6E8FA805DD59}"/>
          </ac:spMkLst>
        </pc:spChg>
        <pc:spChg chg="add mod">
          <ac:chgData name="Pauline Smout" userId="3153cd80-1eee-4546-abae-f15e9d00b721" providerId="ADAL" clId="{81C8F9D0-96F1-4272-A5C3-631DBA14B790}" dt="2022-12-12T12:25:45.147" v="96" actId="207"/>
          <ac:spMkLst>
            <pc:docMk/>
            <pc:sldMk cId="762717214" sldId="297"/>
            <ac:spMk id="96" creationId="{BEF6F416-8141-396B-8205-C25D0D38489E}"/>
          </ac:spMkLst>
        </pc:spChg>
        <pc:spChg chg="add mod">
          <ac:chgData name="Pauline Smout" userId="3153cd80-1eee-4546-abae-f15e9d00b721" providerId="ADAL" clId="{81C8F9D0-96F1-4272-A5C3-631DBA14B790}" dt="2022-12-12T12:25:45.147" v="96" actId="207"/>
          <ac:spMkLst>
            <pc:docMk/>
            <pc:sldMk cId="762717214" sldId="297"/>
            <ac:spMk id="97" creationId="{D92DB4FA-D5AB-A169-A85A-6CC62B5AAC6C}"/>
          </ac:spMkLst>
        </pc:spChg>
        <pc:spChg chg="add mod">
          <ac:chgData name="Pauline Smout" userId="3153cd80-1eee-4546-abae-f15e9d00b721" providerId="ADAL" clId="{81C8F9D0-96F1-4272-A5C3-631DBA14B790}" dt="2022-12-12T12:25:45.147" v="96" actId="207"/>
          <ac:spMkLst>
            <pc:docMk/>
            <pc:sldMk cId="762717214" sldId="297"/>
            <ac:spMk id="98" creationId="{0FDAF7D0-2B59-D3C8-560F-A670FB98460C}"/>
          </ac:spMkLst>
        </pc:spChg>
        <pc:spChg chg="add mod">
          <ac:chgData name="Pauline Smout" userId="3153cd80-1eee-4546-abae-f15e9d00b721" providerId="ADAL" clId="{81C8F9D0-96F1-4272-A5C3-631DBA14B790}" dt="2022-12-12T12:25:45.147" v="96" actId="207"/>
          <ac:spMkLst>
            <pc:docMk/>
            <pc:sldMk cId="762717214" sldId="297"/>
            <ac:spMk id="99" creationId="{73A1776C-01CC-21FE-44B3-52E00BF15C0F}"/>
          </ac:spMkLst>
        </pc:spChg>
        <pc:spChg chg="add mod">
          <ac:chgData name="Pauline Smout" userId="3153cd80-1eee-4546-abae-f15e9d00b721" providerId="ADAL" clId="{81C8F9D0-96F1-4272-A5C3-631DBA14B790}" dt="2022-12-12T12:25:45.147" v="96" actId="207"/>
          <ac:spMkLst>
            <pc:docMk/>
            <pc:sldMk cId="762717214" sldId="297"/>
            <ac:spMk id="100" creationId="{75435676-EAD1-9A9C-85D2-C04F2A073464}"/>
          </ac:spMkLst>
        </pc:spChg>
        <pc:spChg chg="add mod">
          <ac:chgData name="Pauline Smout" userId="3153cd80-1eee-4546-abae-f15e9d00b721" providerId="ADAL" clId="{81C8F9D0-96F1-4272-A5C3-631DBA14B790}" dt="2022-12-12T12:25:45.147" v="96" actId="207"/>
          <ac:spMkLst>
            <pc:docMk/>
            <pc:sldMk cId="762717214" sldId="297"/>
            <ac:spMk id="101" creationId="{ACF33F29-131E-53AB-647A-93537A3F1947}"/>
          </ac:spMkLst>
        </pc:spChg>
        <pc:spChg chg="add mod">
          <ac:chgData name="Pauline Smout" userId="3153cd80-1eee-4546-abae-f15e9d00b721" providerId="ADAL" clId="{81C8F9D0-96F1-4272-A5C3-631DBA14B790}" dt="2022-12-12T12:25:45.147" v="96" actId="207"/>
          <ac:spMkLst>
            <pc:docMk/>
            <pc:sldMk cId="762717214" sldId="297"/>
            <ac:spMk id="102" creationId="{9839484A-AB7A-6345-B66D-326A1DCDB4F5}"/>
          </ac:spMkLst>
        </pc:spChg>
        <pc:spChg chg="add mod">
          <ac:chgData name="Pauline Smout" userId="3153cd80-1eee-4546-abae-f15e9d00b721" providerId="ADAL" clId="{81C8F9D0-96F1-4272-A5C3-631DBA14B790}" dt="2022-12-12T12:25:45.147" v="96" actId="207"/>
          <ac:spMkLst>
            <pc:docMk/>
            <pc:sldMk cId="762717214" sldId="297"/>
            <ac:spMk id="103" creationId="{3B77A2C7-E2F7-500C-B2D7-5758161BC992}"/>
          </ac:spMkLst>
        </pc:spChg>
        <pc:spChg chg="add mod">
          <ac:chgData name="Pauline Smout" userId="3153cd80-1eee-4546-abae-f15e9d00b721" providerId="ADAL" clId="{81C8F9D0-96F1-4272-A5C3-631DBA14B790}" dt="2022-12-12T12:25:45.147" v="96" actId="207"/>
          <ac:spMkLst>
            <pc:docMk/>
            <pc:sldMk cId="762717214" sldId="297"/>
            <ac:spMk id="104" creationId="{DAB09BD7-584E-9AC5-739E-D2F4D43B382D}"/>
          </ac:spMkLst>
        </pc:spChg>
        <pc:spChg chg="add mod">
          <ac:chgData name="Pauline Smout" userId="3153cd80-1eee-4546-abae-f15e9d00b721" providerId="ADAL" clId="{81C8F9D0-96F1-4272-A5C3-631DBA14B790}" dt="2022-12-12T12:25:45.147" v="96" actId="207"/>
          <ac:spMkLst>
            <pc:docMk/>
            <pc:sldMk cId="762717214" sldId="297"/>
            <ac:spMk id="105" creationId="{5CE376B9-D6A4-1ED1-BEA0-CC6D99B61D56}"/>
          </ac:spMkLst>
        </pc:spChg>
        <pc:spChg chg="add mod">
          <ac:chgData name="Pauline Smout" userId="3153cd80-1eee-4546-abae-f15e9d00b721" providerId="ADAL" clId="{81C8F9D0-96F1-4272-A5C3-631DBA14B790}" dt="2022-12-12T12:25:45.147" v="96" actId="207"/>
          <ac:spMkLst>
            <pc:docMk/>
            <pc:sldMk cId="762717214" sldId="297"/>
            <ac:spMk id="106" creationId="{E715C730-A536-106D-36FC-37F73FE001AF}"/>
          </ac:spMkLst>
        </pc:spChg>
        <pc:spChg chg="add mod">
          <ac:chgData name="Pauline Smout" userId="3153cd80-1eee-4546-abae-f15e9d00b721" providerId="ADAL" clId="{81C8F9D0-96F1-4272-A5C3-631DBA14B790}" dt="2022-12-12T12:25:45.147" v="96" actId="207"/>
          <ac:spMkLst>
            <pc:docMk/>
            <pc:sldMk cId="762717214" sldId="297"/>
            <ac:spMk id="107" creationId="{6FE9D371-91A5-732C-F113-789754C50D6A}"/>
          </ac:spMkLst>
        </pc:spChg>
        <pc:spChg chg="add mod">
          <ac:chgData name="Pauline Smout" userId="3153cd80-1eee-4546-abae-f15e9d00b721" providerId="ADAL" clId="{81C8F9D0-96F1-4272-A5C3-631DBA14B790}" dt="2022-12-12T12:25:45.147" v="96" actId="207"/>
          <ac:spMkLst>
            <pc:docMk/>
            <pc:sldMk cId="762717214" sldId="297"/>
            <ac:spMk id="108" creationId="{344E3A27-780A-1168-25F1-686D10B6DC09}"/>
          </ac:spMkLst>
        </pc:spChg>
        <pc:spChg chg="add mod">
          <ac:chgData name="Pauline Smout" userId="3153cd80-1eee-4546-abae-f15e9d00b721" providerId="ADAL" clId="{81C8F9D0-96F1-4272-A5C3-631DBA14B790}" dt="2022-12-12T12:26:04.482" v="100"/>
          <ac:spMkLst>
            <pc:docMk/>
            <pc:sldMk cId="762717214" sldId="297"/>
            <ac:spMk id="109" creationId="{FA56423E-66E1-EE75-9E1A-63DBF651D3C1}"/>
          </ac:spMkLst>
        </pc:spChg>
        <pc:spChg chg="add mod">
          <ac:chgData name="Pauline Smout" userId="3153cd80-1eee-4546-abae-f15e9d00b721" providerId="ADAL" clId="{81C8F9D0-96F1-4272-A5C3-631DBA14B790}" dt="2022-12-12T12:25:45.147" v="96" actId="207"/>
          <ac:spMkLst>
            <pc:docMk/>
            <pc:sldMk cId="762717214" sldId="297"/>
            <ac:spMk id="110" creationId="{6BBFE719-609C-4983-7967-44D197CC6019}"/>
          </ac:spMkLst>
        </pc:spChg>
        <pc:grpChg chg="add del mod">
          <ac:chgData name="Pauline Smout" userId="3153cd80-1eee-4546-abae-f15e9d00b721" providerId="ADAL" clId="{81C8F9D0-96F1-4272-A5C3-631DBA14B790}" dt="2022-12-12T12:25:13.384" v="91"/>
          <ac:grpSpMkLst>
            <pc:docMk/>
            <pc:sldMk cId="762717214" sldId="297"/>
            <ac:grpSpMk id="8" creationId="{8C81702F-FD07-9EE0-62F6-92275BC2A90D}"/>
          </ac:grpSpMkLst>
        </pc:grpChg>
        <pc:grpChg chg="add mod">
          <ac:chgData name="Pauline Smout" userId="3153cd80-1eee-4546-abae-f15e9d00b721" providerId="ADAL" clId="{81C8F9D0-96F1-4272-A5C3-631DBA14B790}" dt="2022-12-12T12:25:13.435" v="92"/>
          <ac:grpSpMkLst>
            <pc:docMk/>
            <pc:sldMk cId="762717214" sldId="297"/>
            <ac:grpSpMk id="62" creationId="{C11D3F79-883E-0C97-F76A-268F71BF0178}"/>
          </ac:grpSpMkLst>
        </pc:grpChg>
        <pc:cxnChg chg="add del mod">
          <ac:chgData name="Pauline Smout" userId="3153cd80-1eee-4546-abae-f15e9d00b721" providerId="ADAL" clId="{81C8F9D0-96F1-4272-A5C3-631DBA14B790}" dt="2022-12-12T12:25:13.384" v="91"/>
          <ac:cxnSpMkLst>
            <pc:docMk/>
            <pc:sldMk cId="762717214" sldId="297"/>
            <ac:cxnSpMk id="7" creationId="{F9AD5343-597D-5B6E-0410-9D3484E6C49C}"/>
          </ac:cxnSpMkLst>
        </pc:cxnChg>
        <pc:cxnChg chg="add del mod">
          <ac:chgData name="Pauline Smout" userId="3153cd80-1eee-4546-abae-f15e9d00b721" providerId="ADAL" clId="{81C8F9D0-96F1-4272-A5C3-631DBA14B790}" dt="2022-12-12T12:25:18.058" v="93" actId="478"/>
          <ac:cxnSpMkLst>
            <pc:docMk/>
            <pc:sldMk cId="762717214" sldId="297"/>
            <ac:cxnSpMk id="61" creationId="{7A2C8A03-A527-62D2-398B-41B61A11405F}"/>
          </ac:cxnSpMkLst>
        </pc:cxnChg>
      </pc:sldChg>
      <pc:sldChg chg="new del">
        <pc:chgData name="Pauline Smout" userId="3153cd80-1eee-4546-abae-f15e9d00b721" providerId="ADAL" clId="{81C8F9D0-96F1-4272-A5C3-631DBA14B790}" dt="2022-12-12T12:27:42.258" v="102" actId="680"/>
        <pc:sldMkLst>
          <pc:docMk/>
          <pc:sldMk cId="444753522" sldId="298"/>
        </pc:sldMkLst>
      </pc:sldChg>
      <pc:sldChg chg="new del">
        <pc:chgData name="Pauline Smout" userId="3153cd80-1eee-4546-abae-f15e9d00b721" providerId="ADAL" clId="{81C8F9D0-96F1-4272-A5C3-631DBA14B790}" dt="2022-12-12T12:36:36.186" v="248" actId="680"/>
        <pc:sldMkLst>
          <pc:docMk/>
          <pc:sldMk cId="763309090" sldId="298"/>
        </pc:sldMkLst>
      </pc:sldChg>
      <pc:sldChg chg="addSp delSp modSp add mod ord">
        <pc:chgData name="Pauline Smout" userId="3153cd80-1eee-4546-abae-f15e9d00b721" providerId="ADAL" clId="{81C8F9D0-96F1-4272-A5C3-631DBA14B790}" dt="2022-12-12T12:58:58.471" v="1048" actId="1076"/>
        <pc:sldMkLst>
          <pc:docMk/>
          <pc:sldMk cId="839669071" sldId="298"/>
        </pc:sldMkLst>
        <pc:spChg chg="del">
          <ac:chgData name="Pauline Smout" userId="3153cd80-1eee-4546-abae-f15e9d00b721" providerId="ADAL" clId="{81C8F9D0-96F1-4272-A5C3-631DBA14B790}" dt="2022-12-12T12:50:50.239" v="962" actId="478"/>
          <ac:spMkLst>
            <pc:docMk/>
            <pc:sldMk cId="839669071" sldId="298"/>
            <ac:spMk id="3" creationId="{8EDECE36-CF72-E157-044B-C22517EF5C91}"/>
          </ac:spMkLst>
        </pc:spChg>
        <pc:spChg chg="add mod">
          <ac:chgData name="Pauline Smout" userId="3153cd80-1eee-4546-abae-f15e9d00b721" providerId="ADAL" clId="{81C8F9D0-96F1-4272-A5C3-631DBA14B790}" dt="2022-12-12T12:52:06.945" v="1022" actId="20577"/>
          <ac:spMkLst>
            <pc:docMk/>
            <pc:sldMk cId="839669071" sldId="298"/>
            <ac:spMk id="4" creationId="{90FCC997-A818-4289-EA78-100F6A351639}"/>
          </ac:spMkLst>
        </pc:spChg>
        <pc:spChg chg="del">
          <ac:chgData name="Pauline Smout" userId="3153cd80-1eee-4546-abae-f15e9d00b721" providerId="ADAL" clId="{81C8F9D0-96F1-4272-A5C3-631DBA14B790}" dt="2022-12-12T12:50:50.239" v="962" actId="478"/>
          <ac:spMkLst>
            <pc:docMk/>
            <pc:sldMk cId="839669071" sldId="298"/>
            <ac:spMk id="5" creationId="{AE65E11B-E400-D9F2-10F7-8A4C6F125520}"/>
          </ac:spMkLst>
        </pc:spChg>
        <pc:spChg chg="del">
          <ac:chgData name="Pauline Smout" userId="3153cd80-1eee-4546-abae-f15e9d00b721" providerId="ADAL" clId="{81C8F9D0-96F1-4272-A5C3-631DBA14B790}" dt="2022-12-12T12:51:33.016" v="971" actId="478"/>
          <ac:spMkLst>
            <pc:docMk/>
            <pc:sldMk cId="839669071" sldId="298"/>
            <ac:spMk id="6" creationId="{736F972D-5E48-9564-BF7C-13EBC47A933E}"/>
          </ac:spMkLst>
        </pc:spChg>
        <pc:spChg chg="del">
          <ac:chgData name="Pauline Smout" userId="3153cd80-1eee-4546-abae-f15e9d00b721" providerId="ADAL" clId="{81C8F9D0-96F1-4272-A5C3-631DBA14B790}" dt="2022-12-12T12:51:33.016" v="971" actId="478"/>
          <ac:spMkLst>
            <pc:docMk/>
            <pc:sldMk cId="839669071" sldId="298"/>
            <ac:spMk id="7" creationId="{859C7CCB-94EA-A3D7-5555-D83ACEC1656F}"/>
          </ac:spMkLst>
        </pc:spChg>
        <pc:spChg chg="mod">
          <ac:chgData name="Pauline Smout" userId="3153cd80-1eee-4546-abae-f15e9d00b721" providerId="ADAL" clId="{81C8F9D0-96F1-4272-A5C3-631DBA14B790}" dt="2022-12-12T12:51:18.874" v="968" actId="1076"/>
          <ac:spMkLst>
            <pc:docMk/>
            <pc:sldMk cId="839669071" sldId="298"/>
            <ac:spMk id="8" creationId="{B0685EF2-81A4-CABF-A5BC-82E04787E280}"/>
          </ac:spMkLst>
        </pc:spChg>
        <pc:spChg chg="mod">
          <ac:chgData name="Pauline Smout" userId="3153cd80-1eee-4546-abae-f15e9d00b721" providerId="ADAL" clId="{81C8F9D0-96F1-4272-A5C3-631DBA14B790}" dt="2022-12-12T12:51:24.677" v="970" actId="20577"/>
          <ac:spMkLst>
            <pc:docMk/>
            <pc:sldMk cId="839669071" sldId="298"/>
            <ac:spMk id="9" creationId="{3D588E30-0DA7-AF72-9B33-7A818C3FB181}"/>
          </ac:spMkLst>
        </pc:spChg>
        <pc:spChg chg="add mod">
          <ac:chgData name="Pauline Smout" userId="3153cd80-1eee-4546-abae-f15e9d00b721" providerId="ADAL" clId="{81C8F9D0-96F1-4272-A5C3-631DBA14B790}" dt="2022-12-12T12:52:40.971" v="1029" actId="179"/>
          <ac:spMkLst>
            <pc:docMk/>
            <pc:sldMk cId="839669071" sldId="298"/>
            <ac:spMk id="10" creationId="{EBD22DA1-4D2F-A12A-4D85-373840684483}"/>
          </ac:spMkLst>
        </pc:spChg>
        <pc:spChg chg="mod">
          <ac:chgData name="Pauline Smout" userId="3153cd80-1eee-4546-abae-f15e9d00b721" providerId="ADAL" clId="{81C8F9D0-96F1-4272-A5C3-631DBA14B790}" dt="2022-12-12T12:54:57.829" v="1035" actId="1076"/>
          <ac:spMkLst>
            <pc:docMk/>
            <pc:sldMk cId="839669071" sldId="298"/>
            <ac:spMk id="18" creationId="{2EAFBF7A-ACA0-7318-7FFD-889BA88FA0AA}"/>
          </ac:spMkLst>
        </pc:spChg>
        <pc:spChg chg="mod">
          <ac:chgData name="Pauline Smout" userId="3153cd80-1eee-4546-abae-f15e9d00b721" providerId="ADAL" clId="{81C8F9D0-96F1-4272-A5C3-631DBA14B790}" dt="2022-12-12T12:54:57.829" v="1035" actId="1076"/>
          <ac:spMkLst>
            <pc:docMk/>
            <pc:sldMk cId="839669071" sldId="298"/>
            <ac:spMk id="19" creationId="{357EC8A2-35CA-B966-5EA7-BD67C9A91016}"/>
          </ac:spMkLst>
        </pc:spChg>
        <pc:spChg chg="mod">
          <ac:chgData name="Pauline Smout" userId="3153cd80-1eee-4546-abae-f15e9d00b721" providerId="ADAL" clId="{81C8F9D0-96F1-4272-A5C3-631DBA14B790}" dt="2022-12-12T12:54:57.829" v="1035" actId="1076"/>
          <ac:spMkLst>
            <pc:docMk/>
            <pc:sldMk cId="839669071" sldId="298"/>
            <ac:spMk id="20" creationId="{91A74699-260E-500F-E95F-74AB3A3A0041}"/>
          </ac:spMkLst>
        </pc:spChg>
        <pc:spChg chg="mod">
          <ac:chgData name="Pauline Smout" userId="3153cd80-1eee-4546-abae-f15e9d00b721" providerId="ADAL" clId="{81C8F9D0-96F1-4272-A5C3-631DBA14B790}" dt="2022-12-12T12:54:57.829" v="1035" actId="1076"/>
          <ac:spMkLst>
            <pc:docMk/>
            <pc:sldMk cId="839669071" sldId="298"/>
            <ac:spMk id="21" creationId="{9AC7C707-9A4B-9596-D9AC-9E06F9927F14}"/>
          </ac:spMkLst>
        </pc:spChg>
        <pc:spChg chg="mod">
          <ac:chgData name="Pauline Smout" userId="3153cd80-1eee-4546-abae-f15e9d00b721" providerId="ADAL" clId="{81C8F9D0-96F1-4272-A5C3-631DBA14B790}" dt="2022-12-12T12:54:57.829" v="1035" actId="1076"/>
          <ac:spMkLst>
            <pc:docMk/>
            <pc:sldMk cId="839669071" sldId="298"/>
            <ac:spMk id="22" creationId="{0B27CD74-322E-3F17-3723-83D61F8F4E6E}"/>
          </ac:spMkLst>
        </pc:spChg>
        <pc:spChg chg="mod">
          <ac:chgData name="Pauline Smout" userId="3153cd80-1eee-4546-abae-f15e9d00b721" providerId="ADAL" clId="{81C8F9D0-96F1-4272-A5C3-631DBA14B790}" dt="2022-12-12T12:54:57.829" v="1035" actId="1076"/>
          <ac:spMkLst>
            <pc:docMk/>
            <pc:sldMk cId="839669071" sldId="298"/>
            <ac:spMk id="23" creationId="{863C742E-7340-A982-D980-39F55BECF090}"/>
          </ac:spMkLst>
        </pc:spChg>
        <pc:spChg chg="mod">
          <ac:chgData name="Pauline Smout" userId="3153cd80-1eee-4546-abae-f15e9d00b721" providerId="ADAL" clId="{81C8F9D0-96F1-4272-A5C3-631DBA14B790}" dt="2022-12-12T12:58:38.844" v="1039"/>
          <ac:spMkLst>
            <pc:docMk/>
            <pc:sldMk cId="839669071" sldId="298"/>
            <ac:spMk id="27" creationId="{B26A40BD-AE5F-72F3-1686-7A80495C2289}"/>
          </ac:spMkLst>
        </pc:spChg>
        <pc:spChg chg="mod">
          <ac:chgData name="Pauline Smout" userId="3153cd80-1eee-4546-abae-f15e9d00b721" providerId="ADAL" clId="{81C8F9D0-96F1-4272-A5C3-631DBA14B790}" dt="2022-12-12T12:58:38.844" v="1039"/>
          <ac:spMkLst>
            <pc:docMk/>
            <pc:sldMk cId="839669071" sldId="298"/>
            <ac:spMk id="31" creationId="{9658DB51-B348-EAC8-9B2E-CE36BA960D81}"/>
          </ac:spMkLst>
        </pc:spChg>
        <pc:spChg chg="mod">
          <ac:chgData name="Pauline Smout" userId="3153cd80-1eee-4546-abae-f15e9d00b721" providerId="ADAL" clId="{81C8F9D0-96F1-4272-A5C3-631DBA14B790}" dt="2022-12-12T12:58:38.844" v="1039"/>
          <ac:spMkLst>
            <pc:docMk/>
            <pc:sldMk cId="839669071" sldId="298"/>
            <ac:spMk id="32" creationId="{C88DA660-92BD-8DE1-60A7-07AC6661E7D2}"/>
          </ac:spMkLst>
        </pc:spChg>
        <pc:spChg chg="mod">
          <ac:chgData name="Pauline Smout" userId="3153cd80-1eee-4546-abae-f15e9d00b721" providerId="ADAL" clId="{81C8F9D0-96F1-4272-A5C3-631DBA14B790}" dt="2022-12-12T12:58:38.844" v="1039"/>
          <ac:spMkLst>
            <pc:docMk/>
            <pc:sldMk cId="839669071" sldId="298"/>
            <ac:spMk id="33" creationId="{8B1DA382-07EE-C7C7-1475-FAD04DA1A650}"/>
          </ac:spMkLst>
        </pc:spChg>
        <pc:spChg chg="mod">
          <ac:chgData name="Pauline Smout" userId="3153cd80-1eee-4546-abae-f15e9d00b721" providerId="ADAL" clId="{81C8F9D0-96F1-4272-A5C3-631DBA14B790}" dt="2022-12-12T12:58:38.844" v="1039"/>
          <ac:spMkLst>
            <pc:docMk/>
            <pc:sldMk cId="839669071" sldId="298"/>
            <ac:spMk id="34" creationId="{3203E843-5013-B64C-0302-C06EA1168869}"/>
          </ac:spMkLst>
        </pc:spChg>
        <pc:spChg chg="mod">
          <ac:chgData name="Pauline Smout" userId="3153cd80-1eee-4546-abae-f15e9d00b721" providerId="ADAL" clId="{81C8F9D0-96F1-4272-A5C3-631DBA14B790}" dt="2022-12-12T12:58:38.844" v="1039"/>
          <ac:spMkLst>
            <pc:docMk/>
            <pc:sldMk cId="839669071" sldId="298"/>
            <ac:spMk id="35" creationId="{A719DCF2-1FC4-7743-DDC5-DF7BD31EF6E3}"/>
          </ac:spMkLst>
        </pc:spChg>
        <pc:spChg chg="mod">
          <ac:chgData name="Pauline Smout" userId="3153cd80-1eee-4546-abae-f15e9d00b721" providerId="ADAL" clId="{81C8F9D0-96F1-4272-A5C3-631DBA14B790}" dt="2022-12-12T12:58:38.844" v="1039"/>
          <ac:spMkLst>
            <pc:docMk/>
            <pc:sldMk cId="839669071" sldId="298"/>
            <ac:spMk id="36" creationId="{12765C74-3488-223C-C871-45C4A0AAC6AC}"/>
          </ac:spMkLst>
        </pc:spChg>
        <pc:grpChg chg="add del mod">
          <ac:chgData name="Pauline Smout" userId="3153cd80-1eee-4546-abae-f15e9d00b721" providerId="ADAL" clId="{81C8F9D0-96F1-4272-A5C3-631DBA14B790}" dt="2022-12-12T12:55:07.675" v="1036" actId="478"/>
          <ac:grpSpMkLst>
            <pc:docMk/>
            <pc:sldMk cId="839669071" sldId="298"/>
            <ac:grpSpMk id="14" creationId="{93CF47F5-7D9C-A81F-9219-000857324415}"/>
          </ac:grpSpMkLst>
        </pc:grpChg>
        <pc:grpChg chg="mod">
          <ac:chgData name="Pauline Smout" userId="3153cd80-1eee-4546-abae-f15e9d00b721" providerId="ADAL" clId="{81C8F9D0-96F1-4272-A5C3-631DBA14B790}" dt="2022-12-12T12:54:57.829" v="1035" actId="1076"/>
          <ac:grpSpMkLst>
            <pc:docMk/>
            <pc:sldMk cId="839669071" sldId="298"/>
            <ac:grpSpMk id="15" creationId="{D471F8D9-22F7-D455-4788-2F39611EAD94}"/>
          </ac:grpSpMkLst>
        </pc:grpChg>
        <pc:grpChg chg="mod">
          <ac:chgData name="Pauline Smout" userId="3153cd80-1eee-4546-abae-f15e9d00b721" providerId="ADAL" clId="{81C8F9D0-96F1-4272-A5C3-631DBA14B790}" dt="2022-12-12T12:54:57.829" v="1035" actId="1076"/>
          <ac:grpSpMkLst>
            <pc:docMk/>
            <pc:sldMk cId="839669071" sldId="298"/>
            <ac:grpSpMk id="16" creationId="{03EE956D-CE8E-56AA-038C-FB4A6362A637}"/>
          </ac:grpSpMkLst>
        </pc:grpChg>
        <pc:grpChg chg="mod">
          <ac:chgData name="Pauline Smout" userId="3153cd80-1eee-4546-abae-f15e9d00b721" providerId="ADAL" clId="{81C8F9D0-96F1-4272-A5C3-631DBA14B790}" dt="2022-12-12T12:54:57.829" v="1035" actId="1076"/>
          <ac:grpSpMkLst>
            <pc:docMk/>
            <pc:sldMk cId="839669071" sldId="298"/>
            <ac:grpSpMk id="17" creationId="{4CA14E3F-190E-6FB0-85BC-28E0D05AC8D6}"/>
          </ac:grpSpMkLst>
        </pc:grpChg>
        <pc:grpChg chg="add del mod">
          <ac:chgData name="Pauline Smout" userId="3153cd80-1eee-4546-abae-f15e9d00b721" providerId="ADAL" clId="{81C8F9D0-96F1-4272-A5C3-631DBA14B790}" dt="2022-12-12T12:58:42.264" v="1042"/>
          <ac:grpSpMkLst>
            <pc:docMk/>
            <pc:sldMk cId="839669071" sldId="298"/>
            <ac:grpSpMk id="25" creationId="{E29F0A3D-0A35-1008-17E2-9A0582CC68F9}"/>
          </ac:grpSpMkLst>
        </pc:grpChg>
        <pc:grpChg chg="mod">
          <ac:chgData name="Pauline Smout" userId="3153cd80-1eee-4546-abae-f15e9d00b721" providerId="ADAL" clId="{81C8F9D0-96F1-4272-A5C3-631DBA14B790}" dt="2022-12-12T12:58:38.844" v="1039"/>
          <ac:grpSpMkLst>
            <pc:docMk/>
            <pc:sldMk cId="839669071" sldId="298"/>
            <ac:grpSpMk id="26" creationId="{2E249B52-48E7-3FC2-67D1-F835E0F27765}"/>
          </ac:grpSpMkLst>
        </pc:grpChg>
        <pc:grpChg chg="mod">
          <ac:chgData name="Pauline Smout" userId="3153cd80-1eee-4546-abae-f15e9d00b721" providerId="ADAL" clId="{81C8F9D0-96F1-4272-A5C3-631DBA14B790}" dt="2022-12-12T12:58:38.844" v="1039"/>
          <ac:grpSpMkLst>
            <pc:docMk/>
            <pc:sldMk cId="839669071" sldId="298"/>
            <ac:grpSpMk id="28" creationId="{C4A3CAB2-4346-6289-39EE-066591A2E4DF}"/>
          </ac:grpSpMkLst>
        </pc:grpChg>
        <pc:grpChg chg="mod">
          <ac:chgData name="Pauline Smout" userId="3153cd80-1eee-4546-abae-f15e9d00b721" providerId="ADAL" clId="{81C8F9D0-96F1-4272-A5C3-631DBA14B790}" dt="2022-12-12T12:58:38.844" v="1039"/>
          <ac:grpSpMkLst>
            <pc:docMk/>
            <pc:sldMk cId="839669071" sldId="298"/>
            <ac:grpSpMk id="29" creationId="{78D1A2FC-BA07-BEB9-FF07-D36AE157B27E}"/>
          </ac:grpSpMkLst>
        </pc:grpChg>
        <pc:grpChg chg="mod">
          <ac:chgData name="Pauline Smout" userId="3153cd80-1eee-4546-abae-f15e9d00b721" providerId="ADAL" clId="{81C8F9D0-96F1-4272-A5C3-631DBA14B790}" dt="2022-12-12T12:58:38.844" v="1039"/>
          <ac:grpSpMkLst>
            <pc:docMk/>
            <pc:sldMk cId="839669071" sldId="298"/>
            <ac:grpSpMk id="30" creationId="{35FB5F30-2C23-B9F0-64DB-D74916638074}"/>
          </ac:grpSpMkLst>
        </pc:grpChg>
        <pc:picChg chg="add mod">
          <ac:chgData name="Pauline Smout" userId="3153cd80-1eee-4546-abae-f15e9d00b721" providerId="ADAL" clId="{81C8F9D0-96F1-4272-A5C3-631DBA14B790}" dt="2022-12-12T12:53:04.845" v="1031" actId="1076"/>
          <ac:picMkLst>
            <pc:docMk/>
            <pc:sldMk cId="839669071" sldId="298"/>
            <ac:picMk id="11" creationId="{B511C5B3-A8C7-0331-DF6B-04D50313F7E1}"/>
          </ac:picMkLst>
        </pc:picChg>
        <pc:picChg chg="add mod">
          <ac:chgData name="Pauline Smout" userId="3153cd80-1eee-4546-abae-f15e9d00b721" providerId="ADAL" clId="{81C8F9D0-96F1-4272-A5C3-631DBA14B790}" dt="2022-12-12T12:53:12.108" v="1032" actId="1076"/>
          <ac:picMkLst>
            <pc:docMk/>
            <pc:sldMk cId="839669071" sldId="298"/>
            <ac:picMk id="12" creationId="{A4537DF5-26A8-D948-F677-9030F67DC543}"/>
          </ac:picMkLst>
        </pc:picChg>
        <pc:picChg chg="add mod">
          <ac:chgData name="Pauline Smout" userId="3153cd80-1eee-4546-abae-f15e9d00b721" providerId="ADAL" clId="{81C8F9D0-96F1-4272-A5C3-631DBA14B790}" dt="2022-12-12T12:53:14.263" v="1033" actId="408"/>
          <ac:picMkLst>
            <pc:docMk/>
            <pc:sldMk cId="839669071" sldId="298"/>
            <ac:picMk id="13" creationId="{25D4135F-1B1C-E183-69EA-94F5F8F586BA}"/>
          </ac:picMkLst>
        </pc:picChg>
        <pc:picChg chg="add del mod">
          <ac:chgData name="Pauline Smout" userId="3153cd80-1eee-4546-abae-f15e9d00b721" providerId="ADAL" clId="{81C8F9D0-96F1-4272-A5C3-631DBA14B790}" dt="2022-12-12T12:58:29.876" v="1038"/>
          <ac:picMkLst>
            <pc:docMk/>
            <pc:sldMk cId="839669071" sldId="298"/>
            <ac:picMk id="24" creationId="{1B1C6BFC-711B-28AB-A798-BA748AEDC3B2}"/>
          </ac:picMkLst>
        </pc:picChg>
        <pc:picChg chg="add mod">
          <ac:chgData name="Pauline Smout" userId="3153cd80-1eee-4546-abae-f15e9d00b721" providerId="ADAL" clId="{81C8F9D0-96F1-4272-A5C3-631DBA14B790}" dt="2022-12-12T12:58:58.471" v="1048" actId="1076"/>
          <ac:picMkLst>
            <pc:docMk/>
            <pc:sldMk cId="839669071" sldId="298"/>
            <ac:picMk id="37" creationId="{D9B3E094-B17E-B23E-E1BF-C527D5588EBC}"/>
          </ac:picMkLst>
        </pc:picChg>
      </pc:sldChg>
      <pc:sldChg chg="new del">
        <pc:chgData name="Pauline Smout" userId="3153cd80-1eee-4546-abae-f15e9d00b721" providerId="ADAL" clId="{81C8F9D0-96F1-4272-A5C3-631DBA14B790}" dt="2022-12-12T12:28:19.071" v="104" actId="47"/>
        <pc:sldMkLst>
          <pc:docMk/>
          <pc:sldMk cId="3676442285" sldId="298"/>
        </pc:sldMkLst>
      </pc:sldChg>
      <pc:sldMasterChg chg="modSp modSldLayout">
        <pc:chgData name="Pauline Smout" userId="3153cd80-1eee-4546-abae-f15e9d00b721" providerId="ADAL" clId="{81C8F9D0-96F1-4272-A5C3-631DBA14B790}" dt="2022-12-12T12:20:45.171" v="38"/>
        <pc:sldMasterMkLst>
          <pc:docMk/>
          <pc:sldMasterMk cId="1120932058" sldId="2147483648"/>
        </pc:sldMasterMkLst>
        <pc:spChg chg="mod">
          <ac:chgData name="Pauline Smout" userId="3153cd80-1eee-4546-abae-f15e9d00b721" providerId="ADAL" clId="{81C8F9D0-96F1-4272-A5C3-631DBA14B790}" dt="2022-12-12T12:20:45.171" v="38"/>
          <ac:spMkLst>
            <pc:docMk/>
            <pc:sldMasterMk cId="1120932058" sldId="2147483648"/>
            <ac:spMk id="2" creationId="{E709A5B2-E5F1-F8C5-A3E2-2A939D78BE0D}"/>
          </ac:spMkLst>
        </pc:spChg>
        <pc:spChg chg="mod">
          <ac:chgData name="Pauline Smout" userId="3153cd80-1eee-4546-abae-f15e9d00b721" providerId="ADAL" clId="{81C8F9D0-96F1-4272-A5C3-631DBA14B790}" dt="2022-12-12T12:20:45.171" v="38"/>
          <ac:spMkLst>
            <pc:docMk/>
            <pc:sldMasterMk cId="1120932058" sldId="2147483648"/>
            <ac:spMk id="3" creationId="{28860D3F-1A0E-4D6F-D127-A23CDC16D8FD}"/>
          </ac:spMkLst>
        </pc:spChg>
        <pc:spChg chg="mod">
          <ac:chgData name="Pauline Smout" userId="3153cd80-1eee-4546-abae-f15e9d00b721" providerId="ADAL" clId="{81C8F9D0-96F1-4272-A5C3-631DBA14B790}" dt="2022-12-12T12:20:45.171" v="38"/>
          <ac:spMkLst>
            <pc:docMk/>
            <pc:sldMasterMk cId="1120932058" sldId="2147483648"/>
            <ac:spMk id="4" creationId="{0A564275-C38D-BA81-88BE-8220ECD0ED4D}"/>
          </ac:spMkLst>
        </pc:spChg>
        <pc:spChg chg="mod">
          <ac:chgData name="Pauline Smout" userId="3153cd80-1eee-4546-abae-f15e9d00b721" providerId="ADAL" clId="{81C8F9D0-96F1-4272-A5C3-631DBA14B790}" dt="2022-12-12T12:20:45.171" v="38"/>
          <ac:spMkLst>
            <pc:docMk/>
            <pc:sldMasterMk cId="1120932058" sldId="2147483648"/>
            <ac:spMk id="5" creationId="{04C186A5-1E35-0828-DABC-0A8C9BDD6815}"/>
          </ac:spMkLst>
        </pc:spChg>
        <pc:spChg chg="mod">
          <ac:chgData name="Pauline Smout" userId="3153cd80-1eee-4546-abae-f15e9d00b721" providerId="ADAL" clId="{81C8F9D0-96F1-4272-A5C3-631DBA14B790}" dt="2022-12-12T12:20:45.171" v="38"/>
          <ac:spMkLst>
            <pc:docMk/>
            <pc:sldMasterMk cId="1120932058" sldId="2147483648"/>
            <ac:spMk id="6" creationId="{0D6FB589-CDC1-9D58-7D17-D2EBA2E8B77B}"/>
          </ac:spMkLst>
        </pc:spChg>
        <pc:sldLayoutChg chg="modSp">
          <pc:chgData name="Pauline Smout" userId="3153cd80-1eee-4546-abae-f15e9d00b721" providerId="ADAL" clId="{81C8F9D0-96F1-4272-A5C3-631DBA14B790}" dt="2022-12-12T12:20:45.171" v="38"/>
          <pc:sldLayoutMkLst>
            <pc:docMk/>
            <pc:sldMasterMk cId="1120932058" sldId="2147483648"/>
            <pc:sldLayoutMk cId="3172249576" sldId="2147483649"/>
          </pc:sldLayoutMkLst>
          <pc:spChg chg="mod">
            <ac:chgData name="Pauline Smout" userId="3153cd80-1eee-4546-abae-f15e9d00b721" providerId="ADAL" clId="{81C8F9D0-96F1-4272-A5C3-631DBA14B790}" dt="2022-12-12T12:20:45.171" v="38"/>
            <ac:spMkLst>
              <pc:docMk/>
              <pc:sldMasterMk cId="1120932058" sldId="2147483648"/>
              <pc:sldLayoutMk cId="3172249576" sldId="2147483649"/>
              <ac:spMk id="2" creationId="{0D8BC695-5E3B-0C6C-E0B4-DAFECE70B171}"/>
            </ac:spMkLst>
          </pc:spChg>
          <pc:spChg chg="mod">
            <ac:chgData name="Pauline Smout" userId="3153cd80-1eee-4546-abae-f15e9d00b721" providerId="ADAL" clId="{81C8F9D0-96F1-4272-A5C3-631DBA14B790}" dt="2022-12-12T12:20:45.171" v="38"/>
            <ac:spMkLst>
              <pc:docMk/>
              <pc:sldMasterMk cId="1120932058" sldId="2147483648"/>
              <pc:sldLayoutMk cId="3172249576" sldId="2147483649"/>
              <ac:spMk id="3" creationId="{781AE3AB-9305-71BF-BF53-B1565AB0B595}"/>
            </ac:spMkLst>
          </pc:spChg>
        </pc:sldLayoutChg>
        <pc:sldLayoutChg chg="modSp">
          <pc:chgData name="Pauline Smout" userId="3153cd80-1eee-4546-abae-f15e9d00b721" providerId="ADAL" clId="{81C8F9D0-96F1-4272-A5C3-631DBA14B790}" dt="2022-12-12T12:20:45.171" v="38"/>
          <pc:sldLayoutMkLst>
            <pc:docMk/>
            <pc:sldMasterMk cId="1120932058" sldId="2147483648"/>
            <pc:sldLayoutMk cId="2341297552" sldId="2147483651"/>
          </pc:sldLayoutMkLst>
          <pc:spChg chg="mod">
            <ac:chgData name="Pauline Smout" userId="3153cd80-1eee-4546-abae-f15e9d00b721" providerId="ADAL" clId="{81C8F9D0-96F1-4272-A5C3-631DBA14B790}" dt="2022-12-12T12:20:45.171" v="38"/>
            <ac:spMkLst>
              <pc:docMk/>
              <pc:sldMasterMk cId="1120932058" sldId="2147483648"/>
              <pc:sldLayoutMk cId="2341297552" sldId="2147483651"/>
              <ac:spMk id="2" creationId="{E2E0BB9A-EFD8-0860-0652-5C669161FBD3}"/>
            </ac:spMkLst>
          </pc:spChg>
          <pc:spChg chg="mod">
            <ac:chgData name="Pauline Smout" userId="3153cd80-1eee-4546-abae-f15e9d00b721" providerId="ADAL" clId="{81C8F9D0-96F1-4272-A5C3-631DBA14B790}" dt="2022-12-12T12:20:45.171" v="38"/>
            <ac:spMkLst>
              <pc:docMk/>
              <pc:sldMasterMk cId="1120932058" sldId="2147483648"/>
              <pc:sldLayoutMk cId="2341297552" sldId="2147483651"/>
              <ac:spMk id="3" creationId="{62FD56FE-9844-C2D3-DF6B-1D02B1C48CAB}"/>
            </ac:spMkLst>
          </pc:spChg>
        </pc:sldLayoutChg>
        <pc:sldLayoutChg chg="modSp">
          <pc:chgData name="Pauline Smout" userId="3153cd80-1eee-4546-abae-f15e9d00b721" providerId="ADAL" clId="{81C8F9D0-96F1-4272-A5C3-631DBA14B790}" dt="2022-12-12T12:20:45.171" v="38"/>
          <pc:sldLayoutMkLst>
            <pc:docMk/>
            <pc:sldMasterMk cId="1120932058" sldId="2147483648"/>
            <pc:sldLayoutMk cId="3658174772" sldId="2147483652"/>
          </pc:sldLayoutMkLst>
          <pc:spChg chg="mod">
            <ac:chgData name="Pauline Smout" userId="3153cd80-1eee-4546-abae-f15e9d00b721" providerId="ADAL" clId="{81C8F9D0-96F1-4272-A5C3-631DBA14B790}" dt="2022-12-12T12:20:45.171" v="38"/>
            <ac:spMkLst>
              <pc:docMk/>
              <pc:sldMasterMk cId="1120932058" sldId="2147483648"/>
              <pc:sldLayoutMk cId="3658174772" sldId="2147483652"/>
              <ac:spMk id="3" creationId="{2A6C165D-FFDA-BF9B-D3EC-C7D42A68B0EC}"/>
            </ac:spMkLst>
          </pc:spChg>
          <pc:spChg chg="mod">
            <ac:chgData name="Pauline Smout" userId="3153cd80-1eee-4546-abae-f15e9d00b721" providerId="ADAL" clId="{81C8F9D0-96F1-4272-A5C3-631DBA14B790}" dt="2022-12-12T12:20:45.171" v="38"/>
            <ac:spMkLst>
              <pc:docMk/>
              <pc:sldMasterMk cId="1120932058" sldId="2147483648"/>
              <pc:sldLayoutMk cId="3658174772" sldId="2147483652"/>
              <ac:spMk id="4" creationId="{E9BFA049-1991-0B18-F52E-6340376ED258}"/>
            </ac:spMkLst>
          </pc:spChg>
        </pc:sldLayoutChg>
        <pc:sldLayoutChg chg="modSp">
          <pc:chgData name="Pauline Smout" userId="3153cd80-1eee-4546-abae-f15e9d00b721" providerId="ADAL" clId="{81C8F9D0-96F1-4272-A5C3-631DBA14B790}" dt="2022-12-12T12:20:45.171" v="38"/>
          <pc:sldLayoutMkLst>
            <pc:docMk/>
            <pc:sldMasterMk cId="1120932058" sldId="2147483648"/>
            <pc:sldLayoutMk cId="3827347156" sldId="2147483653"/>
          </pc:sldLayoutMkLst>
          <pc:spChg chg="mod">
            <ac:chgData name="Pauline Smout" userId="3153cd80-1eee-4546-abae-f15e9d00b721" providerId="ADAL" clId="{81C8F9D0-96F1-4272-A5C3-631DBA14B790}" dt="2022-12-12T12:20:45.171" v="38"/>
            <ac:spMkLst>
              <pc:docMk/>
              <pc:sldMasterMk cId="1120932058" sldId="2147483648"/>
              <pc:sldLayoutMk cId="3827347156" sldId="2147483653"/>
              <ac:spMk id="2" creationId="{1C590E4F-15B8-CC88-B0CC-E64C0617B5E2}"/>
            </ac:spMkLst>
          </pc:spChg>
          <pc:spChg chg="mod">
            <ac:chgData name="Pauline Smout" userId="3153cd80-1eee-4546-abae-f15e9d00b721" providerId="ADAL" clId="{81C8F9D0-96F1-4272-A5C3-631DBA14B790}" dt="2022-12-12T12:20:45.171" v="38"/>
            <ac:spMkLst>
              <pc:docMk/>
              <pc:sldMasterMk cId="1120932058" sldId="2147483648"/>
              <pc:sldLayoutMk cId="3827347156" sldId="2147483653"/>
              <ac:spMk id="3" creationId="{DD3F4B1B-A097-93BF-3953-7F2F060C3B80}"/>
            </ac:spMkLst>
          </pc:spChg>
          <pc:spChg chg="mod">
            <ac:chgData name="Pauline Smout" userId="3153cd80-1eee-4546-abae-f15e9d00b721" providerId="ADAL" clId="{81C8F9D0-96F1-4272-A5C3-631DBA14B790}" dt="2022-12-12T12:20:45.171" v="38"/>
            <ac:spMkLst>
              <pc:docMk/>
              <pc:sldMasterMk cId="1120932058" sldId="2147483648"/>
              <pc:sldLayoutMk cId="3827347156" sldId="2147483653"/>
              <ac:spMk id="4" creationId="{CFE6AACE-1C8D-FCEC-D590-1AD519AEF66E}"/>
            </ac:spMkLst>
          </pc:spChg>
          <pc:spChg chg="mod">
            <ac:chgData name="Pauline Smout" userId="3153cd80-1eee-4546-abae-f15e9d00b721" providerId="ADAL" clId="{81C8F9D0-96F1-4272-A5C3-631DBA14B790}" dt="2022-12-12T12:20:45.171" v="38"/>
            <ac:spMkLst>
              <pc:docMk/>
              <pc:sldMasterMk cId="1120932058" sldId="2147483648"/>
              <pc:sldLayoutMk cId="3827347156" sldId="2147483653"/>
              <ac:spMk id="5" creationId="{C831DA71-9ABF-C46D-A709-EB85A7949FF3}"/>
            </ac:spMkLst>
          </pc:spChg>
          <pc:spChg chg="mod">
            <ac:chgData name="Pauline Smout" userId="3153cd80-1eee-4546-abae-f15e9d00b721" providerId="ADAL" clId="{81C8F9D0-96F1-4272-A5C3-631DBA14B790}" dt="2022-12-12T12:20:45.171" v="38"/>
            <ac:spMkLst>
              <pc:docMk/>
              <pc:sldMasterMk cId="1120932058" sldId="2147483648"/>
              <pc:sldLayoutMk cId="3827347156" sldId="2147483653"/>
              <ac:spMk id="6" creationId="{04EA55AC-7116-4048-B0E5-662A18228869}"/>
            </ac:spMkLst>
          </pc:spChg>
        </pc:sldLayoutChg>
        <pc:sldLayoutChg chg="modSp">
          <pc:chgData name="Pauline Smout" userId="3153cd80-1eee-4546-abae-f15e9d00b721" providerId="ADAL" clId="{81C8F9D0-96F1-4272-A5C3-631DBA14B790}" dt="2022-12-12T12:20:45.171" v="38"/>
          <pc:sldLayoutMkLst>
            <pc:docMk/>
            <pc:sldMasterMk cId="1120932058" sldId="2147483648"/>
            <pc:sldLayoutMk cId="3889236033" sldId="2147483656"/>
          </pc:sldLayoutMkLst>
          <pc:spChg chg="mod">
            <ac:chgData name="Pauline Smout" userId="3153cd80-1eee-4546-abae-f15e9d00b721" providerId="ADAL" clId="{81C8F9D0-96F1-4272-A5C3-631DBA14B790}" dt="2022-12-12T12:20:45.171" v="38"/>
            <ac:spMkLst>
              <pc:docMk/>
              <pc:sldMasterMk cId="1120932058" sldId="2147483648"/>
              <pc:sldLayoutMk cId="3889236033" sldId="2147483656"/>
              <ac:spMk id="2" creationId="{B074005E-07A9-6B01-0562-8CB06DE51F14}"/>
            </ac:spMkLst>
          </pc:spChg>
          <pc:spChg chg="mod">
            <ac:chgData name="Pauline Smout" userId="3153cd80-1eee-4546-abae-f15e9d00b721" providerId="ADAL" clId="{81C8F9D0-96F1-4272-A5C3-631DBA14B790}" dt="2022-12-12T12:20:45.171" v="38"/>
            <ac:spMkLst>
              <pc:docMk/>
              <pc:sldMasterMk cId="1120932058" sldId="2147483648"/>
              <pc:sldLayoutMk cId="3889236033" sldId="2147483656"/>
              <ac:spMk id="3" creationId="{D82268BA-BE50-F10F-3F65-C1C039AC12F5}"/>
            </ac:spMkLst>
          </pc:spChg>
          <pc:spChg chg="mod">
            <ac:chgData name="Pauline Smout" userId="3153cd80-1eee-4546-abae-f15e9d00b721" providerId="ADAL" clId="{81C8F9D0-96F1-4272-A5C3-631DBA14B790}" dt="2022-12-12T12:20:45.171" v="38"/>
            <ac:spMkLst>
              <pc:docMk/>
              <pc:sldMasterMk cId="1120932058" sldId="2147483648"/>
              <pc:sldLayoutMk cId="3889236033" sldId="2147483656"/>
              <ac:spMk id="4" creationId="{D2E07FBA-11A3-387A-D901-198DF2628BCE}"/>
            </ac:spMkLst>
          </pc:spChg>
        </pc:sldLayoutChg>
        <pc:sldLayoutChg chg="modSp">
          <pc:chgData name="Pauline Smout" userId="3153cd80-1eee-4546-abae-f15e9d00b721" providerId="ADAL" clId="{81C8F9D0-96F1-4272-A5C3-631DBA14B790}" dt="2022-12-12T12:20:45.171" v="38"/>
          <pc:sldLayoutMkLst>
            <pc:docMk/>
            <pc:sldMasterMk cId="1120932058" sldId="2147483648"/>
            <pc:sldLayoutMk cId="3650800455" sldId="2147483657"/>
          </pc:sldLayoutMkLst>
          <pc:spChg chg="mod">
            <ac:chgData name="Pauline Smout" userId="3153cd80-1eee-4546-abae-f15e9d00b721" providerId="ADAL" clId="{81C8F9D0-96F1-4272-A5C3-631DBA14B790}" dt="2022-12-12T12:20:45.171" v="38"/>
            <ac:spMkLst>
              <pc:docMk/>
              <pc:sldMasterMk cId="1120932058" sldId="2147483648"/>
              <pc:sldLayoutMk cId="3650800455" sldId="2147483657"/>
              <ac:spMk id="2" creationId="{38D6CDD1-D422-B191-1F08-6154845F6E8F}"/>
            </ac:spMkLst>
          </pc:spChg>
          <pc:spChg chg="mod">
            <ac:chgData name="Pauline Smout" userId="3153cd80-1eee-4546-abae-f15e9d00b721" providerId="ADAL" clId="{81C8F9D0-96F1-4272-A5C3-631DBA14B790}" dt="2022-12-12T12:20:45.171" v="38"/>
            <ac:spMkLst>
              <pc:docMk/>
              <pc:sldMasterMk cId="1120932058" sldId="2147483648"/>
              <pc:sldLayoutMk cId="3650800455" sldId="2147483657"/>
              <ac:spMk id="3" creationId="{641B0500-08F8-559D-3E8F-2EE57E72D15F}"/>
            </ac:spMkLst>
          </pc:spChg>
          <pc:spChg chg="mod">
            <ac:chgData name="Pauline Smout" userId="3153cd80-1eee-4546-abae-f15e9d00b721" providerId="ADAL" clId="{81C8F9D0-96F1-4272-A5C3-631DBA14B790}" dt="2022-12-12T12:20:45.171" v="38"/>
            <ac:spMkLst>
              <pc:docMk/>
              <pc:sldMasterMk cId="1120932058" sldId="2147483648"/>
              <pc:sldLayoutMk cId="3650800455" sldId="2147483657"/>
              <ac:spMk id="4" creationId="{621A7F9D-51AF-082F-443D-45DF2C923473}"/>
            </ac:spMkLst>
          </pc:spChg>
        </pc:sldLayoutChg>
        <pc:sldLayoutChg chg="modSp">
          <pc:chgData name="Pauline Smout" userId="3153cd80-1eee-4546-abae-f15e9d00b721" providerId="ADAL" clId="{81C8F9D0-96F1-4272-A5C3-631DBA14B790}" dt="2022-12-12T12:20:45.171" v="38"/>
          <pc:sldLayoutMkLst>
            <pc:docMk/>
            <pc:sldMasterMk cId="1120932058" sldId="2147483648"/>
            <pc:sldLayoutMk cId="3996400551" sldId="2147483659"/>
          </pc:sldLayoutMkLst>
          <pc:spChg chg="mod">
            <ac:chgData name="Pauline Smout" userId="3153cd80-1eee-4546-abae-f15e9d00b721" providerId="ADAL" clId="{81C8F9D0-96F1-4272-A5C3-631DBA14B790}" dt="2022-12-12T12:20:45.171" v="38"/>
            <ac:spMkLst>
              <pc:docMk/>
              <pc:sldMasterMk cId="1120932058" sldId="2147483648"/>
              <pc:sldLayoutMk cId="3996400551" sldId="2147483659"/>
              <ac:spMk id="2" creationId="{3E7C5E04-ED1A-2762-F476-E89A641CD045}"/>
            </ac:spMkLst>
          </pc:spChg>
          <pc:spChg chg="mod">
            <ac:chgData name="Pauline Smout" userId="3153cd80-1eee-4546-abae-f15e9d00b721" providerId="ADAL" clId="{81C8F9D0-96F1-4272-A5C3-631DBA14B790}" dt="2022-12-12T12:20:45.171" v="38"/>
            <ac:spMkLst>
              <pc:docMk/>
              <pc:sldMasterMk cId="1120932058" sldId="2147483648"/>
              <pc:sldLayoutMk cId="3996400551" sldId="2147483659"/>
              <ac:spMk id="3" creationId="{64956505-DC8C-6392-321D-D4768D64B45F}"/>
            </ac:spMkLst>
          </pc:spChg>
        </pc:sldLayoutChg>
      </pc:sldMasterChg>
      <pc:sldMasterChg chg="modSp modSldLayout">
        <pc:chgData name="Pauline Smout" userId="3153cd80-1eee-4546-abae-f15e9d00b721" providerId="ADAL" clId="{81C8F9D0-96F1-4272-A5C3-631DBA14B790}" dt="2022-12-12T12:20:45.171" v="38"/>
        <pc:sldMasterMkLst>
          <pc:docMk/>
          <pc:sldMasterMk cId="1501429221" sldId="2147483660"/>
        </pc:sldMasterMkLst>
        <pc:graphicFrameChg chg="mod">
          <ac:chgData name="Pauline Smout" userId="3153cd80-1eee-4546-abae-f15e9d00b721" providerId="ADAL" clId="{81C8F9D0-96F1-4272-A5C3-631DBA14B790}" dt="2022-12-12T12:20:45.171" v="38"/>
          <ac:graphicFrameMkLst>
            <pc:docMk/>
            <pc:sldMasterMk cId="1501429221" sldId="2147483660"/>
            <ac:graphicFrameMk id="2" creationId="{6ACEF535-975D-6BB1-C121-41DBA4E8ED3A}"/>
          </ac:graphicFrameMkLst>
        </pc:graphicFrameChg>
        <pc:sldLayoutChg chg="modSp">
          <pc:chgData name="Pauline Smout" userId="3153cd80-1eee-4546-abae-f15e9d00b721" providerId="ADAL" clId="{81C8F9D0-96F1-4272-A5C3-631DBA14B790}" dt="2022-12-12T12:20:45.171" v="38"/>
          <pc:sldLayoutMkLst>
            <pc:docMk/>
            <pc:sldMasterMk cId="1501429221" sldId="2147483660"/>
            <pc:sldLayoutMk cId="348266716" sldId="2147483661"/>
          </pc:sldLayoutMkLst>
          <pc:spChg chg="mod">
            <ac:chgData name="Pauline Smout" userId="3153cd80-1eee-4546-abae-f15e9d00b721" providerId="ADAL" clId="{81C8F9D0-96F1-4272-A5C3-631DBA14B790}" dt="2022-12-12T12:20:45.171" v="38"/>
            <ac:spMkLst>
              <pc:docMk/>
              <pc:sldMasterMk cId="1501429221" sldId="2147483660"/>
              <pc:sldLayoutMk cId="348266716" sldId="2147483661"/>
              <ac:spMk id="3" creationId="{EA82AB26-ACC8-1644-8EA1-54E152B519B9}"/>
            </ac:spMkLst>
          </pc:spChg>
          <pc:spChg chg="mod">
            <ac:chgData name="Pauline Smout" userId="3153cd80-1eee-4546-abae-f15e9d00b721" providerId="ADAL" clId="{81C8F9D0-96F1-4272-A5C3-631DBA14B790}" dt="2022-12-12T12:20:45.171" v="38"/>
            <ac:spMkLst>
              <pc:docMk/>
              <pc:sldMasterMk cId="1501429221" sldId="2147483660"/>
              <pc:sldLayoutMk cId="348266716" sldId="2147483661"/>
              <ac:spMk id="5" creationId="{B819C615-8CE1-D04D-88CD-C92BEA589E76}"/>
            </ac:spMkLst>
          </pc:spChg>
          <pc:spChg chg="mod">
            <ac:chgData name="Pauline Smout" userId="3153cd80-1eee-4546-abae-f15e9d00b721" providerId="ADAL" clId="{81C8F9D0-96F1-4272-A5C3-631DBA14B790}" dt="2022-12-12T12:20:45.171" v="38"/>
            <ac:spMkLst>
              <pc:docMk/>
              <pc:sldMasterMk cId="1501429221" sldId="2147483660"/>
              <pc:sldLayoutMk cId="348266716" sldId="2147483661"/>
              <ac:spMk id="8" creationId="{0B78F171-CB3B-754B-901C-A817C6F62DFC}"/>
            </ac:spMkLst>
          </pc:spChg>
          <pc:picChg chg="mod">
            <ac:chgData name="Pauline Smout" userId="3153cd80-1eee-4546-abae-f15e9d00b721" providerId="ADAL" clId="{81C8F9D0-96F1-4272-A5C3-631DBA14B790}" dt="2022-12-12T12:20:45.171" v="38"/>
            <ac:picMkLst>
              <pc:docMk/>
              <pc:sldMasterMk cId="1501429221" sldId="2147483660"/>
              <pc:sldLayoutMk cId="348266716" sldId="2147483661"/>
              <ac:picMk id="7" creationId="{F3FBB47B-80FB-F945-813B-20B3B4F07A88}"/>
            </ac:picMkLst>
          </pc:picChg>
          <pc:picChg chg="mod">
            <ac:chgData name="Pauline Smout" userId="3153cd80-1eee-4546-abae-f15e9d00b721" providerId="ADAL" clId="{81C8F9D0-96F1-4272-A5C3-631DBA14B790}" dt="2022-12-12T12:20:45.171" v="38"/>
            <ac:picMkLst>
              <pc:docMk/>
              <pc:sldMasterMk cId="1501429221" sldId="2147483660"/>
              <pc:sldLayoutMk cId="348266716" sldId="2147483661"/>
              <ac:picMk id="9" creationId="{D5E477C2-BD66-4349-9F38-A002F06FE67C}"/>
            </ac:picMkLst>
          </pc:picChg>
          <pc:picChg chg="mod">
            <ac:chgData name="Pauline Smout" userId="3153cd80-1eee-4546-abae-f15e9d00b721" providerId="ADAL" clId="{81C8F9D0-96F1-4272-A5C3-631DBA14B790}" dt="2022-12-12T12:20:45.171" v="38"/>
            <ac:picMkLst>
              <pc:docMk/>
              <pc:sldMasterMk cId="1501429221" sldId="2147483660"/>
              <pc:sldLayoutMk cId="348266716" sldId="2147483661"/>
              <ac:picMk id="11" creationId="{4BBC263E-8B5D-BE49-BB4D-585484F49103}"/>
            </ac:picMkLst>
          </pc:picChg>
          <pc:picChg chg="mod">
            <ac:chgData name="Pauline Smout" userId="3153cd80-1eee-4546-abae-f15e9d00b721" providerId="ADAL" clId="{81C8F9D0-96F1-4272-A5C3-631DBA14B790}" dt="2022-12-12T12:20:45.171" v="38"/>
            <ac:picMkLst>
              <pc:docMk/>
              <pc:sldMasterMk cId="1501429221" sldId="2147483660"/>
              <pc:sldLayoutMk cId="348266716" sldId="2147483661"/>
              <ac:picMk id="12" creationId="{CA4C1BE4-EEC9-6048-9E14-9AB3C2EC7B6B}"/>
            </ac:picMkLst>
          </pc:picChg>
        </pc:sldLayoutChg>
        <pc:sldLayoutChg chg="modSp">
          <pc:chgData name="Pauline Smout" userId="3153cd80-1eee-4546-abae-f15e9d00b721" providerId="ADAL" clId="{81C8F9D0-96F1-4272-A5C3-631DBA14B790}" dt="2022-12-12T12:20:45.171" v="38"/>
          <pc:sldLayoutMkLst>
            <pc:docMk/>
            <pc:sldMasterMk cId="1501429221" sldId="2147483660"/>
            <pc:sldLayoutMk cId="2886906442" sldId="2147483662"/>
          </pc:sldLayoutMkLst>
          <pc:spChg chg="mod">
            <ac:chgData name="Pauline Smout" userId="3153cd80-1eee-4546-abae-f15e9d00b721" providerId="ADAL" clId="{81C8F9D0-96F1-4272-A5C3-631DBA14B790}" dt="2022-12-12T12:20:45.171" v="38"/>
            <ac:spMkLst>
              <pc:docMk/>
              <pc:sldMasterMk cId="1501429221" sldId="2147483660"/>
              <pc:sldLayoutMk cId="2886906442" sldId="2147483662"/>
              <ac:spMk id="4" creationId="{69DE5CB2-C189-694F-BD13-A79411519845}"/>
            </ac:spMkLst>
          </pc:spChg>
          <pc:spChg chg="mod">
            <ac:chgData name="Pauline Smout" userId="3153cd80-1eee-4546-abae-f15e9d00b721" providerId="ADAL" clId="{81C8F9D0-96F1-4272-A5C3-631DBA14B790}" dt="2022-12-12T12:20:45.171" v="38"/>
            <ac:spMkLst>
              <pc:docMk/>
              <pc:sldMasterMk cId="1501429221" sldId="2147483660"/>
              <pc:sldLayoutMk cId="2886906442" sldId="2147483662"/>
              <ac:spMk id="14" creationId="{94878B84-6E55-6945-9A2C-33D17A9109B8}"/>
            </ac:spMkLst>
          </pc:spChg>
          <pc:spChg chg="mod">
            <ac:chgData name="Pauline Smout" userId="3153cd80-1eee-4546-abae-f15e9d00b721" providerId="ADAL" clId="{81C8F9D0-96F1-4272-A5C3-631DBA14B790}" dt="2022-12-12T12:20:45.171" v="38"/>
            <ac:spMkLst>
              <pc:docMk/>
              <pc:sldMasterMk cId="1501429221" sldId="2147483660"/>
              <pc:sldLayoutMk cId="2886906442" sldId="2147483662"/>
              <ac:spMk id="15" creationId="{96EAE40F-0B43-5847-8296-616333A3B6F9}"/>
            </ac:spMkLst>
          </pc:spChg>
          <pc:picChg chg="mod">
            <ac:chgData name="Pauline Smout" userId="3153cd80-1eee-4546-abae-f15e9d00b721" providerId="ADAL" clId="{81C8F9D0-96F1-4272-A5C3-631DBA14B790}" dt="2022-12-12T12:20:45.171" v="38"/>
            <ac:picMkLst>
              <pc:docMk/>
              <pc:sldMasterMk cId="1501429221" sldId="2147483660"/>
              <pc:sldLayoutMk cId="2886906442" sldId="2147483662"/>
              <ac:picMk id="2" creationId="{EE20AD0D-31AF-48EF-DDEE-290879C684E8}"/>
            </ac:picMkLst>
          </pc:picChg>
          <pc:picChg chg="mod">
            <ac:chgData name="Pauline Smout" userId="3153cd80-1eee-4546-abae-f15e9d00b721" providerId="ADAL" clId="{81C8F9D0-96F1-4272-A5C3-631DBA14B790}" dt="2022-12-12T12:20:45.171" v="38"/>
            <ac:picMkLst>
              <pc:docMk/>
              <pc:sldMasterMk cId="1501429221" sldId="2147483660"/>
              <pc:sldLayoutMk cId="2886906442" sldId="2147483662"/>
              <ac:picMk id="3" creationId="{27A23693-6E96-E5B7-C24D-0886E3578486}"/>
            </ac:picMkLst>
          </pc:picChg>
        </pc:sldLayoutChg>
        <pc:sldLayoutChg chg="modSp">
          <pc:chgData name="Pauline Smout" userId="3153cd80-1eee-4546-abae-f15e9d00b721" providerId="ADAL" clId="{81C8F9D0-96F1-4272-A5C3-631DBA14B790}" dt="2022-12-12T12:20:45.171" v="38"/>
          <pc:sldLayoutMkLst>
            <pc:docMk/>
            <pc:sldMasterMk cId="1501429221" sldId="2147483660"/>
            <pc:sldLayoutMk cId="4210041193" sldId="2147483663"/>
          </pc:sldLayoutMkLst>
          <pc:spChg chg="mod">
            <ac:chgData name="Pauline Smout" userId="3153cd80-1eee-4546-abae-f15e9d00b721" providerId="ADAL" clId="{81C8F9D0-96F1-4272-A5C3-631DBA14B790}" dt="2022-12-12T12:20:45.171" v="38"/>
            <ac:spMkLst>
              <pc:docMk/>
              <pc:sldMasterMk cId="1501429221" sldId="2147483660"/>
              <pc:sldLayoutMk cId="4210041193" sldId="2147483663"/>
              <ac:spMk id="2" creationId="{79F60777-1DB4-2540-A27A-0AF86D9D87F7}"/>
            </ac:spMkLst>
          </pc:spChg>
          <pc:spChg chg="mod">
            <ac:chgData name="Pauline Smout" userId="3153cd80-1eee-4546-abae-f15e9d00b721" providerId="ADAL" clId="{81C8F9D0-96F1-4272-A5C3-631DBA14B790}" dt="2022-12-12T12:20:45.171" v="38"/>
            <ac:spMkLst>
              <pc:docMk/>
              <pc:sldMasterMk cId="1501429221" sldId="2147483660"/>
              <pc:sldLayoutMk cId="4210041193" sldId="2147483663"/>
              <ac:spMk id="3" creationId="{1B55D741-C909-2E4A-ABE3-EA5F777D8B1B}"/>
            </ac:spMkLst>
          </pc:spChg>
          <pc:spChg chg="mod">
            <ac:chgData name="Pauline Smout" userId="3153cd80-1eee-4546-abae-f15e9d00b721" providerId="ADAL" clId="{81C8F9D0-96F1-4272-A5C3-631DBA14B790}" dt="2022-12-12T12:20:45.171" v="38"/>
            <ac:spMkLst>
              <pc:docMk/>
              <pc:sldMasterMk cId="1501429221" sldId="2147483660"/>
              <pc:sldLayoutMk cId="4210041193" sldId="2147483663"/>
              <ac:spMk id="7" creationId="{CA6F8066-99EA-4F40-9A0F-CB2DBEEEEE5B}"/>
            </ac:spMkLst>
          </pc:spChg>
        </pc:sldLayoutChg>
        <pc:sldLayoutChg chg="modSp">
          <pc:chgData name="Pauline Smout" userId="3153cd80-1eee-4546-abae-f15e9d00b721" providerId="ADAL" clId="{81C8F9D0-96F1-4272-A5C3-631DBA14B790}" dt="2022-12-12T12:20:45.171" v="38"/>
          <pc:sldLayoutMkLst>
            <pc:docMk/>
            <pc:sldMasterMk cId="1796911611" sldId="2147483672"/>
            <pc:sldLayoutMk cId="4284078460" sldId="2147483664"/>
          </pc:sldLayoutMkLst>
          <pc:spChg chg="mod">
            <ac:chgData name="Pauline Smout" userId="3153cd80-1eee-4546-abae-f15e9d00b721" providerId="ADAL" clId="{81C8F9D0-96F1-4272-A5C3-631DBA14B790}" dt="2022-12-12T12:20:45.171" v="38"/>
            <ac:spMkLst>
              <pc:docMk/>
              <pc:sldMasterMk cId="1796911611" sldId="2147483672"/>
              <pc:sldLayoutMk cId="4284078460" sldId="2147483664"/>
              <ac:spMk id="11" creationId="{DE6EF542-6A6B-C944-BD24-0DA3B018A6BE}"/>
            </ac:spMkLst>
          </pc:spChg>
          <pc:picChg chg="mod">
            <ac:chgData name="Pauline Smout" userId="3153cd80-1eee-4546-abae-f15e9d00b721" providerId="ADAL" clId="{81C8F9D0-96F1-4272-A5C3-631DBA14B790}" dt="2022-12-12T12:20:45.171" v="38"/>
            <ac:picMkLst>
              <pc:docMk/>
              <pc:sldMasterMk cId="1796911611" sldId="2147483672"/>
              <pc:sldLayoutMk cId="4284078460" sldId="2147483664"/>
              <ac:picMk id="7" creationId="{8048621F-FD2A-9F44-94B1-E6AD741BD364}"/>
            </ac:picMkLst>
          </pc:picChg>
          <pc:picChg chg="mod">
            <ac:chgData name="Pauline Smout" userId="3153cd80-1eee-4546-abae-f15e9d00b721" providerId="ADAL" clId="{81C8F9D0-96F1-4272-A5C3-631DBA14B790}" dt="2022-12-12T12:20:45.171" v="38"/>
            <ac:picMkLst>
              <pc:docMk/>
              <pc:sldMasterMk cId="1796911611" sldId="2147483672"/>
              <pc:sldLayoutMk cId="4284078460" sldId="2147483664"/>
              <ac:picMk id="8" creationId="{91B3083A-D98E-0346-9504-5052D2BEE8E8}"/>
            </ac:picMkLst>
          </pc:picChg>
          <pc:picChg chg="mod">
            <ac:chgData name="Pauline Smout" userId="3153cd80-1eee-4546-abae-f15e9d00b721" providerId="ADAL" clId="{81C8F9D0-96F1-4272-A5C3-631DBA14B790}" dt="2022-12-12T12:20:45.171" v="38"/>
            <ac:picMkLst>
              <pc:docMk/>
              <pc:sldMasterMk cId="1796911611" sldId="2147483672"/>
              <pc:sldLayoutMk cId="4284078460" sldId="2147483664"/>
              <ac:picMk id="9" creationId="{6D5A91FE-CA2C-3C44-A452-0798C2E3980D}"/>
            </ac:picMkLst>
          </pc:picChg>
          <pc:picChg chg="mod">
            <ac:chgData name="Pauline Smout" userId="3153cd80-1eee-4546-abae-f15e9d00b721" providerId="ADAL" clId="{81C8F9D0-96F1-4272-A5C3-631DBA14B790}" dt="2022-12-12T12:20:45.171" v="38"/>
            <ac:picMkLst>
              <pc:docMk/>
              <pc:sldMasterMk cId="1796911611" sldId="2147483672"/>
              <pc:sldLayoutMk cId="4284078460" sldId="2147483664"/>
              <ac:picMk id="10" creationId="{BFEDA028-F4E7-424B-9509-D1D0FD6AA573}"/>
            </ac:picMkLst>
          </pc:picChg>
        </pc:sldLayoutChg>
        <pc:sldLayoutChg chg="modSp">
          <pc:chgData name="Pauline Smout" userId="3153cd80-1eee-4546-abae-f15e9d00b721" providerId="ADAL" clId="{81C8F9D0-96F1-4272-A5C3-631DBA14B790}" dt="2022-12-12T12:20:45.171" v="38"/>
          <pc:sldLayoutMkLst>
            <pc:docMk/>
            <pc:sldMasterMk cId="1796911611" sldId="2147483672"/>
            <pc:sldLayoutMk cId="1358071660" sldId="2147483665"/>
          </pc:sldLayoutMkLst>
          <pc:spChg chg="mod">
            <ac:chgData name="Pauline Smout" userId="3153cd80-1eee-4546-abae-f15e9d00b721" providerId="ADAL" clId="{81C8F9D0-96F1-4272-A5C3-631DBA14B790}" dt="2022-12-12T12:20:45.171" v="38"/>
            <ac:spMkLst>
              <pc:docMk/>
              <pc:sldMasterMk cId="1796911611" sldId="2147483672"/>
              <pc:sldLayoutMk cId="1358071660" sldId="2147483665"/>
              <ac:spMk id="3" creationId="{A29E2BBF-665C-1B48-A206-EA46E7EBA33A}"/>
            </ac:spMkLst>
          </pc:spChg>
          <pc:spChg chg="mod">
            <ac:chgData name="Pauline Smout" userId="3153cd80-1eee-4546-abae-f15e9d00b721" providerId="ADAL" clId="{81C8F9D0-96F1-4272-A5C3-631DBA14B790}" dt="2022-12-12T12:20:45.171" v="38"/>
            <ac:spMkLst>
              <pc:docMk/>
              <pc:sldMasterMk cId="1796911611" sldId="2147483672"/>
              <pc:sldLayoutMk cId="1358071660" sldId="2147483665"/>
              <ac:spMk id="4" creationId="{58C5AF1E-1FF4-2C45-81EA-C4FEE3B68CC0}"/>
            </ac:spMkLst>
          </pc:spChg>
          <pc:spChg chg="mod">
            <ac:chgData name="Pauline Smout" userId="3153cd80-1eee-4546-abae-f15e9d00b721" providerId="ADAL" clId="{81C8F9D0-96F1-4272-A5C3-631DBA14B790}" dt="2022-12-12T12:20:45.171" v="38"/>
            <ac:spMkLst>
              <pc:docMk/>
              <pc:sldMasterMk cId="1796911611" sldId="2147483672"/>
              <pc:sldLayoutMk cId="1358071660" sldId="2147483665"/>
              <ac:spMk id="8" creationId="{2F83A5E9-8A6B-C34B-82B1-60CBEFEAD454}"/>
            </ac:spMkLst>
          </pc:spChg>
          <pc:spChg chg="mod">
            <ac:chgData name="Pauline Smout" userId="3153cd80-1eee-4546-abae-f15e9d00b721" providerId="ADAL" clId="{81C8F9D0-96F1-4272-A5C3-631DBA14B790}" dt="2022-12-12T12:20:45.171" v="38"/>
            <ac:spMkLst>
              <pc:docMk/>
              <pc:sldMasterMk cId="1796911611" sldId="2147483672"/>
              <pc:sldLayoutMk cId="1358071660" sldId="2147483665"/>
              <ac:spMk id="9" creationId="{CA6663DA-4CED-D443-9798-E856FDD200FF}"/>
            </ac:spMkLst>
          </pc:spChg>
        </pc:sldLayoutChg>
        <pc:sldLayoutChg chg="modSp">
          <pc:chgData name="Pauline Smout" userId="3153cd80-1eee-4546-abae-f15e9d00b721" providerId="ADAL" clId="{81C8F9D0-96F1-4272-A5C3-631DBA14B790}" dt="2022-12-12T12:20:45.171" v="38"/>
          <pc:sldLayoutMkLst>
            <pc:docMk/>
            <pc:sldMasterMk cId="1796911611" sldId="2147483672"/>
            <pc:sldLayoutMk cId="1526106960" sldId="2147483666"/>
          </pc:sldLayoutMkLst>
          <pc:spChg chg="mod">
            <ac:chgData name="Pauline Smout" userId="3153cd80-1eee-4546-abae-f15e9d00b721" providerId="ADAL" clId="{81C8F9D0-96F1-4272-A5C3-631DBA14B790}" dt="2022-12-12T12:20:45.171" v="38"/>
            <ac:spMkLst>
              <pc:docMk/>
              <pc:sldMasterMk cId="1796911611" sldId="2147483672"/>
              <pc:sldLayoutMk cId="1526106960" sldId="2147483666"/>
              <ac:spMk id="3" creationId="{F5503163-1DB0-0E46-99A9-A633FEBEF585}"/>
            </ac:spMkLst>
          </pc:spChg>
          <pc:spChg chg="mod">
            <ac:chgData name="Pauline Smout" userId="3153cd80-1eee-4546-abae-f15e9d00b721" providerId="ADAL" clId="{81C8F9D0-96F1-4272-A5C3-631DBA14B790}" dt="2022-12-12T12:20:45.171" v="38"/>
            <ac:spMkLst>
              <pc:docMk/>
              <pc:sldMasterMk cId="1796911611" sldId="2147483672"/>
              <pc:sldLayoutMk cId="1526106960" sldId="2147483666"/>
              <ac:spMk id="4" creationId="{8D3D0900-DF06-2241-B038-56C32288EB3F}"/>
            </ac:spMkLst>
          </pc:spChg>
          <pc:spChg chg="mod">
            <ac:chgData name="Pauline Smout" userId="3153cd80-1eee-4546-abae-f15e9d00b721" providerId="ADAL" clId="{81C8F9D0-96F1-4272-A5C3-631DBA14B790}" dt="2022-12-12T12:20:45.171" v="38"/>
            <ac:spMkLst>
              <pc:docMk/>
              <pc:sldMasterMk cId="1796911611" sldId="2147483672"/>
              <pc:sldLayoutMk cId="1526106960" sldId="2147483666"/>
              <ac:spMk id="5" creationId="{8DFAD4A4-847D-C94F-BE9A-21B527586D81}"/>
            </ac:spMkLst>
          </pc:spChg>
          <pc:spChg chg="mod">
            <ac:chgData name="Pauline Smout" userId="3153cd80-1eee-4546-abae-f15e9d00b721" providerId="ADAL" clId="{81C8F9D0-96F1-4272-A5C3-631DBA14B790}" dt="2022-12-12T12:20:45.171" v="38"/>
            <ac:spMkLst>
              <pc:docMk/>
              <pc:sldMasterMk cId="1796911611" sldId="2147483672"/>
              <pc:sldLayoutMk cId="1526106960" sldId="2147483666"/>
              <ac:spMk id="6" creationId="{D8F6F743-AE8B-7545-A50F-350B8405D011}"/>
            </ac:spMkLst>
          </pc:spChg>
          <pc:spChg chg="mod">
            <ac:chgData name="Pauline Smout" userId="3153cd80-1eee-4546-abae-f15e9d00b721" providerId="ADAL" clId="{81C8F9D0-96F1-4272-A5C3-631DBA14B790}" dt="2022-12-12T12:20:45.171" v="38"/>
            <ac:spMkLst>
              <pc:docMk/>
              <pc:sldMasterMk cId="1796911611" sldId="2147483672"/>
              <pc:sldLayoutMk cId="1526106960" sldId="2147483666"/>
              <ac:spMk id="10" creationId="{21F524E1-0C5D-9340-8C8A-A6931D3AA43B}"/>
            </ac:spMkLst>
          </pc:spChg>
          <pc:spChg chg="mod">
            <ac:chgData name="Pauline Smout" userId="3153cd80-1eee-4546-abae-f15e9d00b721" providerId="ADAL" clId="{81C8F9D0-96F1-4272-A5C3-631DBA14B790}" dt="2022-12-12T12:20:45.171" v="38"/>
            <ac:spMkLst>
              <pc:docMk/>
              <pc:sldMasterMk cId="1796911611" sldId="2147483672"/>
              <pc:sldLayoutMk cId="1526106960" sldId="2147483666"/>
              <ac:spMk id="11" creationId="{345CDA96-C742-E14D-A8D4-AEA80BEFA089}"/>
            </ac:spMkLst>
          </pc:spChg>
        </pc:sldLayoutChg>
        <pc:sldLayoutChg chg="modSp">
          <pc:chgData name="Pauline Smout" userId="3153cd80-1eee-4546-abae-f15e9d00b721" providerId="ADAL" clId="{81C8F9D0-96F1-4272-A5C3-631DBA14B790}" dt="2022-12-12T12:20:45.171" v="38"/>
          <pc:sldLayoutMkLst>
            <pc:docMk/>
            <pc:sldMasterMk cId="1796911611" sldId="2147483672"/>
            <pc:sldLayoutMk cId="1061793170" sldId="2147483667"/>
          </pc:sldLayoutMkLst>
          <pc:spChg chg="mod">
            <ac:chgData name="Pauline Smout" userId="3153cd80-1eee-4546-abae-f15e9d00b721" providerId="ADAL" clId="{81C8F9D0-96F1-4272-A5C3-631DBA14B790}" dt="2022-12-12T12:20:45.171" v="38"/>
            <ac:spMkLst>
              <pc:docMk/>
              <pc:sldMasterMk cId="1796911611" sldId="2147483672"/>
              <pc:sldLayoutMk cId="1061793170" sldId="2147483667"/>
              <ac:spMk id="6" creationId="{4BCCAED3-F1BF-AB4D-9713-ABF6C7DF1EE4}"/>
            </ac:spMkLst>
          </pc:spChg>
          <pc:spChg chg="mod">
            <ac:chgData name="Pauline Smout" userId="3153cd80-1eee-4546-abae-f15e9d00b721" providerId="ADAL" clId="{81C8F9D0-96F1-4272-A5C3-631DBA14B790}" dt="2022-12-12T12:20:45.171" v="38"/>
            <ac:spMkLst>
              <pc:docMk/>
              <pc:sldMasterMk cId="1796911611" sldId="2147483672"/>
              <pc:sldLayoutMk cId="1061793170" sldId="2147483667"/>
              <ac:spMk id="7" creationId="{FCDCDD09-4A06-DC42-90CC-DE82495E7D72}"/>
            </ac:spMkLst>
          </pc:spChg>
        </pc:sldLayoutChg>
        <pc:sldLayoutChg chg="modSp">
          <pc:chgData name="Pauline Smout" userId="3153cd80-1eee-4546-abae-f15e9d00b721" providerId="ADAL" clId="{81C8F9D0-96F1-4272-A5C3-631DBA14B790}" dt="2022-12-12T12:20:45.171" v="38"/>
          <pc:sldLayoutMkLst>
            <pc:docMk/>
            <pc:sldMasterMk cId="1501429221" sldId="2147483660"/>
            <pc:sldLayoutMk cId="578778773" sldId="2147483669"/>
          </pc:sldLayoutMkLst>
          <pc:spChg chg="mod">
            <ac:chgData name="Pauline Smout" userId="3153cd80-1eee-4546-abae-f15e9d00b721" providerId="ADAL" clId="{81C8F9D0-96F1-4272-A5C3-631DBA14B790}" dt="2022-12-12T12:20:45.171" v="38"/>
            <ac:spMkLst>
              <pc:docMk/>
              <pc:sldMasterMk cId="1501429221" sldId="2147483660"/>
              <pc:sldLayoutMk cId="578778773" sldId="2147483669"/>
              <ac:spMk id="2" creationId="{3F3D6EFB-101D-DF42-B90E-2711C03FA90A}"/>
            </ac:spMkLst>
          </pc:spChg>
          <pc:spChg chg="mod">
            <ac:chgData name="Pauline Smout" userId="3153cd80-1eee-4546-abae-f15e9d00b721" providerId="ADAL" clId="{81C8F9D0-96F1-4272-A5C3-631DBA14B790}" dt="2022-12-12T12:20:45.171" v="38"/>
            <ac:spMkLst>
              <pc:docMk/>
              <pc:sldMasterMk cId="1501429221" sldId="2147483660"/>
              <pc:sldLayoutMk cId="578778773" sldId="2147483669"/>
              <ac:spMk id="3" creationId="{FD6CFC23-66A4-2D4B-AE7B-0DC163C98789}"/>
            </ac:spMkLst>
          </pc:spChg>
          <pc:spChg chg="mod">
            <ac:chgData name="Pauline Smout" userId="3153cd80-1eee-4546-abae-f15e9d00b721" providerId="ADAL" clId="{81C8F9D0-96F1-4272-A5C3-631DBA14B790}" dt="2022-12-12T12:20:45.171" v="38"/>
            <ac:spMkLst>
              <pc:docMk/>
              <pc:sldMasterMk cId="1501429221" sldId="2147483660"/>
              <pc:sldLayoutMk cId="578778773" sldId="2147483669"/>
              <ac:spMk id="4" creationId="{86070290-BC1C-F846-B7B1-D3CF134CFA33}"/>
            </ac:spMkLst>
          </pc:spChg>
          <pc:spChg chg="mod">
            <ac:chgData name="Pauline Smout" userId="3153cd80-1eee-4546-abae-f15e9d00b721" providerId="ADAL" clId="{81C8F9D0-96F1-4272-A5C3-631DBA14B790}" dt="2022-12-12T12:20:45.171" v="38"/>
            <ac:spMkLst>
              <pc:docMk/>
              <pc:sldMasterMk cId="1501429221" sldId="2147483660"/>
              <pc:sldLayoutMk cId="578778773" sldId="2147483669"/>
              <ac:spMk id="8" creationId="{D1FF5BC4-4329-4848-A284-DBBFFEA252B4}"/>
            </ac:spMkLst>
          </pc:spChg>
        </pc:sldLayoutChg>
        <pc:sldLayoutChg chg="modSp">
          <pc:chgData name="Pauline Smout" userId="3153cd80-1eee-4546-abae-f15e9d00b721" providerId="ADAL" clId="{81C8F9D0-96F1-4272-A5C3-631DBA14B790}" dt="2022-12-12T12:20:45.171" v="38"/>
          <pc:sldLayoutMkLst>
            <pc:docMk/>
            <pc:sldMasterMk cId="1796911611" sldId="2147483672"/>
            <pc:sldLayoutMk cId="1649204950" sldId="2147483670"/>
          </pc:sldLayoutMkLst>
          <pc:spChg chg="mod">
            <ac:chgData name="Pauline Smout" userId="3153cd80-1eee-4546-abae-f15e9d00b721" providerId="ADAL" clId="{81C8F9D0-96F1-4272-A5C3-631DBA14B790}" dt="2022-12-12T12:20:45.171" v="38"/>
            <ac:spMkLst>
              <pc:docMk/>
              <pc:sldMasterMk cId="1796911611" sldId="2147483672"/>
              <pc:sldLayoutMk cId="1649204950" sldId="2147483670"/>
              <ac:spMk id="3" creationId="{147B0464-C501-3D4A-8919-728F41D8EB89}"/>
            </ac:spMkLst>
          </pc:spChg>
          <pc:spChg chg="mod">
            <ac:chgData name="Pauline Smout" userId="3153cd80-1eee-4546-abae-f15e9d00b721" providerId="ADAL" clId="{81C8F9D0-96F1-4272-A5C3-631DBA14B790}" dt="2022-12-12T12:20:45.171" v="38"/>
            <ac:spMkLst>
              <pc:docMk/>
              <pc:sldMasterMk cId="1796911611" sldId="2147483672"/>
              <pc:sldLayoutMk cId="1649204950" sldId="2147483670"/>
              <ac:spMk id="4" creationId="{5914B947-FB97-C949-9489-B435627D0A46}"/>
            </ac:spMkLst>
          </pc:spChg>
          <pc:spChg chg="mod">
            <ac:chgData name="Pauline Smout" userId="3153cd80-1eee-4546-abae-f15e9d00b721" providerId="ADAL" clId="{81C8F9D0-96F1-4272-A5C3-631DBA14B790}" dt="2022-12-12T12:20:45.171" v="38"/>
            <ac:spMkLst>
              <pc:docMk/>
              <pc:sldMasterMk cId="1796911611" sldId="2147483672"/>
              <pc:sldLayoutMk cId="1649204950" sldId="2147483670"/>
              <ac:spMk id="8" creationId="{A059F074-5CCA-0C41-8B94-40DF66AE3F5D}"/>
            </ac:spMkLst>
          </pc:spChg>
          <pc:spChg chg="mod">
            <ac:chgData name="Pauline Smout" userId="3153cd80-1eee-4546-abae-f15e9d00b721" providerId="ADAL" clId="{81C8F9D0-96F1-4272-A5C3-631DBA14B790}" dt="2022-12-12T12:20:45.171" v="38"/>
            <ac:spMkLst>
              <pc:docMk/>
              <pc:sldMasterMk cId="1796911611" sldId="2147483672"/>
              <pc:sldLayoutMk cId="1649204950" sldId="2147483670"/>
              <ac:spMk id="9" creationId="{32DC137D-82C3-5343-A1A2-0FA5C088E3E1}"/>
            </ac:spMkLst>
          </pc:spChg>
        </pc:sldLayoutChg>
        <pc:sldLayoutChg chg="modSp">
          <pc:chgData name="Pauline Smout" userId="3153cd80-1eee-4546-abae-f15e9d00b721" providerId="ADAL" clId="{81C8F9D0-96F1-4272-A5C3-631DBA14B790}" dt="2022-12-12T12:20:45.171" v="38"/>
          <pc:sldLayoutMkLst>
            <pc:docMk/>
            <pc:sldMasterMk cId="1501429221" sldId="2147483660"/>
            <pc:sldLayoutMk cId="4077648077" sldId="2147483671"/>
          </pc:sldLayoutMkLst>
          <pc:spChg chg="mod">
            <ac:chgData name="Pauline Smout" userId="3153cd80-1eee-4546-abae-f15e9d00b721" providerId="ADAL" clId="{81C8F9D0-96F1-4272-A5C3-631DBA14B790}" dt="2022-12-12T12:20:45.171" v="38"/>
            <ac:spMkLst>
              <pc:docMk/>
              <pc:sldMasterMk cId="1501429221" sldId="2147483660"/>
              <pc:sldLayoutMk cId="4077648077" sldId="2147483671"/>
              <ac:spMk id="11" creationId="{DE6EF542-6A6B-C944-BD24-0DA3B018A6BE}"/>
            </ac:spMkLst>
          </pc:spChg>
          <pc:picChg chg="mod">
            <ac:chgData name="Pauline Smout" userId="3153cd80-1eee-4546-abae-f15e9d00b721" providerId="ADAL" clId="{81C8F9D0-96F1-4272-A5C3-631DBA14B790}" dt="2022-12-12T12:20:45.171" v="38"/>
            <ac:picMkLst>
              <pc:docMk/>
              <pc:sldMasterMk cId="1501429221" sldId="2147483660"/>
              <pc:sldLayoutMk cId="4077648077" sldId="2147483671"/>
              <ac:picMk id="5" creationId="{117B31ED-FA24-1F7D-138A-8C6A463B329E}"/>
            </ac:picMkLst>
          </pc:picChg>
          <pc:picChg chg="mod">
            <ac:chgData name="Pauline Smout" userId="3153cd80-1eee-4546-abae-f15e9d00b721" providerId="ADAL" clId="{81C8F9D0-96F1-4272-A5C3-631DBA14B790}" dt="2022-12-12T12:20:45.171" v="38"/>
            <ac:picMkLst>
              <pc:docMk/>
              <pc:sldMasterMk cId="1501429221" sldId="2147483660"/>
              <pc:sldLayoutMk cId="4077648077" sldId="2147483671"/>
              <ac:picMk id="6" creationId="{5E81EE16-A57A-DCEE-4C37-50994E3B0162}"/>
            </ac:picMkLst>
          </pc:picChg>
          <pc:picChg chg="mod">
            <ac:chgData name="Pauline Smout" userId="3153cd80-1eee-4546-abae-f15e9d00b721" providerId="ADAL" clId="{81C8F9D0-96F1-4272-A5C3-631DBA14B790}" dt="2022-12-12T12:20:45.171" v="38"/>
            <ac:picMkLst>
              <pc:docMk/>
              <pc:sldMasterMk cId="1501429221" sldId="2147483660"/>
              <pc:sldLayoutMk cId="4077648077" sldId="2147483671"/>
              <ac:picMk id="7" creationId="{8048621F-FD2A-9F44-94B1-E6AD741BD364}"/>
            </ac:picMkLst>
          </pc:picChg>
          <pc:picChg chg="mod">
            <ac:chgData name="Pauline Smout" userId="3153cd80-1eee-4546-abae-f15e9d00b721" providerId="ADAL" clId="{81C8F9D0-96F1-4272-A5C3-631DBA14B790}" dt="2022-12-12T12:20:45.171" v="38"/>
            <ac:picMkLst>
              <pc:docMk/>
              <pc:sldMasterMk cId="1501429221" sldId="2147483660"/>
              <pc:sldLayoutMk cId="4077648077" sldId="2147483671"/>
              <ac:picMk id="9" creationId="{6D5A91FE-CA2C-3C44-A452-0798C2E3980D}"/>
            </ac:picMkLst>
          </pc:picChg>
        </pc:sldLayoutChg>
      </pc:sldMasterChg>
      <pc:sldMasterChg chg="addSp modSp mod delSldLayout modSldLayout">
        <pc:chgData name="Pauline Smout" userId="3153cd80-1eee-4546-abae-f15e9d00b721" providerId="ADAL" clId="{81C8F9D0-96F1-4272-A5C3-631DBA14B790}" dt="2022-12-12T12:36:50.169" v="250" actId="6549"/>
        <pc:sldMasterMkLst>
          <pc:docMk/>
          <pc:sldMasterMk cId="1796911611" sldId="2147483672"/>
        </pc:sldMasterMkLst>
        <pc:spChg chg="mod">
          <ac:chgData name="Pauline Smout" userId="3153cd80-1eee-4546-abae-f15e9d00b721" providerId="ADAL" clId="{81C8F9D0-96F1-4272-A5C3-631DBA14B790}" dt="2022-12-12T12:36:50.169" v="250" actId="6549"/>
          <ac:spMkLst>
            <pc:docMk/>
            <pc:sldMasterMk cId="1796911611" sldId="2147483672"/>
            <ac:spMk id="5" creationId="{00000000-0000-0000-0000-000000000000}"/>
          </ac:spMkLst>
        </pc:spChg>
        <pc:spChg chg="add mod">
          <ac:chgData name="Pauline Smout" userId="3153cd80-1eee-4546-abae-f15e9d00b721" providerId="ADAL" clId="{81C8F9D0-96F1-4272-A5C3-631DBA14B790}" dt="2022-12-12T12:32:48.172" v="141" actId="207"/>
          <ac:spMkLst>
            <pc:docMk/>
            <pc:sldMasterMk cId="1796911611" sldId="2147483672"/>
            <ac:spMk id="10" creationId="{7C987D10-967D-04BA-6E61-95FB98512FE8}"/>
          </ac:spMkLst>
        </pc:spChg>
        <pc:picChg chg="add mod">
          <ac:chgData name="Pauline Smout" userId="3153cd80-1eee-4546-abae-f15e9d00b721" providerId="ADAL" clId="{81C8F9D0-96F1-4272-A5C3-631DBA14B790}" dt="2022-12-12T12:31:00.759" v="132" actId="1076"/>
          <ac:picMkLst>
            <pc:docMk/>
            <pc:sldMasterMk cId="1796911611" sldId="2147483672"/>
            <ac:picMk id="8" creationId="{3F3DE2B1-D4B4-3FC7-BF45-E2DBF07D3361}"/>
          </ac:picMkLst>
        </pc:picChg>
        <pc:picChg chg="add mod">
          <ac:chgData name="Pauline Smout" userId="3153cd80-1eee-4546-abae-f15e9d00b721" providerId="ADAL" clId="{81C8F9D0-96F1-4272-A5C3-631DBA14B790}" dt="2022-12-12T12:30:54.902" v="131" actId="1076"/>
          <ac:picMkLst>
            <pc:docMk/>
            <pc:sldMasterMk cId="1796911611" sldId="2147483672"/>
            <ac:picMk id="9" creationId="{C7605877-8CD1-7CB9-357D-DD24AB3C9FA1}"/>
          </ac:picMkLst>
        </pc:picChg>
        <pc:sldLayoutChg chg="modSp">
          <pc:chgData name="Pauline Smout" userId="3153cd80-1eee-4546-abae-f15e9d00b721" providerId="ADAL" clId="{81C8F9D0-96F1-4272-A5C3-631DBA14B790}" dt="2022-12-12T12:29:07.988" v="117" actId="735"/>
          <pc:sldLayoutMkLst>
            <pc:docMk/>
            <pc:sldMasterMk cId="1796911611" sldId="2147483672"/>
            <pc:sldLayoutMk cId="1358071660" sldId="2147483665"/>
          </pc:sldLayoutMkLst>
        </pc:sldLayoutChg>
        <pc:sldLayoutChg chg="modSp">
          <pc:chgData name="Pauline Smout" userId="3153cd80-1eee-4546-abae-f15e9d00b721" providerId="ADAL" clId="{81C8F9D0-96F1-4272-A5C3-631DBA14B790}" dt="2022-12-12T12:29:08.894" v="118" actId="735"/>
          <pc:sldLayoutMkLst>
            <pc:docMk/>
            <pc:sldMasterMk cId="1796911611" sldId="2147483672"/>
            <pc:sldLayoutMk cId="1526106960" sldId="2147483666"/>
          </pc:sldLayoutMkLst>
        </pc:sldLayoutChg>
        <pc:sldLayoutChg chg="modSp">
          <pc:chgData name="Pauline Smout" userId="3153cd80-1eee-4546-abae-f15e9d00b721" providerId="ADAL" clId="{81C8F9D0-96F1-4272-A5C3-631DBA14B790}" dt="2022-12-12T12:29:09.644" v="119" actId="735"/>
          <pc:sldLayoutMkLst>
            <pc:docMk/>
            <pc:sldMasterMk cId="1796911611" sldId="2147483672"/>
            <pc:sldLayoutMk cId="1061793170" sldId="2147483667"/>
          </pc:sldLayoutMkLst>
        </pc:sldLayoutChg>
        <pc:sldLayoutChg chg="modSp">
          <pc:chgData name="Pauline Smout" userId="3153cd80-1eee-4546-abae-f15e9d00b721" providerId="ADAL" clId="{81C8F9D0-96F1-4272-A5C3-631DBA14B790}" dt="2022-12-12T12:29:11.049" v="120" actId="735"/>
          <pc:sldLayoutMkLst>
            <pc:docMk/>
            <pc:sldMasterMk cId="1796911611" sldId="2147483672"/>
            <pc:sldLayoutMk cId="1649204950" sldId="2147483670"/>
          </pc:sldLayoutMkLst>
        </pc:sldLayoutChg>
        <pc:sldLayoutChg chg="modSp">
          <pc:chgData name="Pauline Smout" userId="3153cd80-1eee-4546-abae-f15e9d00b721" providerId="ADAL" clId="{81C8F9D0-96F1-4272-A5C3-631DBA14B790}" dt="2022-12-12T12:29:12.150" v="121" actId="735"/>
          <pc:sldLayoutMkLst>
            <pc:docMk/>
            <pc:sldMasterMk cId="1796911611" sldId="2147483672"/>
            <pc:sldLayoutMk cId="164990155" sldId="2147483683"/>
          </pc:sldLayoutMkLst>
        </pc:sldLayoutChg>
        <pc:sldLayoutChg chg="del">
          <pc:chgData name="Pauline Smout" userId="3153cd80-1eee-4546-abae-f15e9d00b721" providerId="ADAL" clId="{81C8F9D0-96F1-4272-A5C3-631DBA14B790}" dt="2022-12-12T12:21:31.943" v="40" actId="47"/>
          <pc:sldLayoutMkLst>
            <pc:docMk/>
            <pc:sldMasterMk cId="1796911611" sldId="2147483672"/>
            <pc:sldLayoutMk cId="412984092" sldId="2147483684"/>
          </pc:sldLayoutMkLst>
        </pc:sldLayoutChg>
        <pc:sldLayoutChg chg="del">
          <pc:chgData name="Pauline Smout" userId="3153cd80-1eee-4546-abae-f15e9d00b721" providerId="ADAL" clId="{81C8F9D0-96F1-4272-A5C3-631DBA14B790}" dt="2022-12-12T12:36:37.937" v="249" actId="47"/>
          <pc:sldLayoutMkLst>
            <pc:docMk/>
            <pc:sldMasterMk cId="1796911611" sldId="2147483672"/>
            <pc:sldLayoutMk cId="2572202245" sldId="2147483684"/>
          </pc:sldLayoutMkLst>
        </pc:sldLayoutChg>
        <pc:sldLayoutChg chg="del">
          <pc:chgData name="Pauline Smout" userId="3153cd80-1eee-4546-abae-f15e9d00b721" providerId="ADAL" clId="{81C8F9D0-96F1-4272-A5C3-631DBA14B790}" dt="2022-12-12T12:21:31.943" v="40" actId="47"/>
          <pc:sldLayoutMkLst>
            <pc:docMk/>
            <pc:sldMasterMk cId="1796911611" sldId="2147483672"/>
            <pc:sldLayoutMk cId="160419751" sldId="2147483685"/>
          </pc:sldLayoutMkLst>
        </pc:sldLayoutChg>
        <pc:sldLayoutChg chg="del">
          <pc:chgData name="Pauline Smout" userId="3153cd80-1eee-4546-abae-f15e9d00b721" providerId="ADAL" clId="{81C8F9D0-96F1-4272-A5C3-631DBA14B790}" dt="2022-12-12T12:21:31.943" v="40" actId="47"/>
          <pc:sldLayoutMkLst>
            <pc:docMk/>
            <pc:sldMasterMk cId="1796911611" sldId="2147483672"/>
            <pc:sldLayoutMk cId="1609221981" sldId="2147483686"/>
          </pc:sldLayoutMkLst>
        </pc:sldLayoutChg>
      </pc:sldMasterChg>
    </pc:docChg>
  </pc:docChgLst>
  <pc:docChgLst>
    <pc:chgData name="Pauline Smout" userId="3153cd80-1eee-4546-abae-f15e9d00b721" providerId="ADAL" clId="{1B586BA9-3AF8-40E4-A7D6-2303DBC92803}"/>
    <pc:docChg chg="custSel addSld modSld">
      <pc:chgData name="Pauline Smout" userId="3153cd80-1eee-4546-abae-f15e9d00b721" providerId="ADAL" clId="{1B586BA9-3AF8-40E4-A7D6-2303DBC92803}" dt="2023-01-30T18:43:08.724" v="95"/>
      <pc:docMkLst>
        <pc:docMk/>
      </pc:docMkLst>
      <pc:sldChg chg="addSp modSp mod">
        <pc:chgData name="Pauline Smout" userId="3153cd80-1eee-4546-abae-f15e9d00b721" providerId="ADAL" clId="{1B586BA9-3AF8-40E4-A7D6-2303DBC92803}" dt="2023-01-30T18:37:59.069" v="94" actId="11"/>
        <pc:sldMkLst>
          <pc:docMk/>
          <pc:sldMk cId="2464049271" sldId="295"/>
        </pc:sldMkLst>
        <pc:spChg chg="add mod">
          <ac:chgData name="Pauline Smout" userId="3153cd80-1eee-4546-abae-f15e9d00b721" providerId="ADAL" clId="{1B586BA9-3AF8-40E4-A7D6-2303DBC92803}" dt="2023-01-30T18:30:14.131" v="93" actId="20577"/>
          <ac:spMkLst>
            <pc:docMk/>
            <pc:sldMk cId="2464049271" sldId="295"/>
            <ac:spMk id="2" creationId="{54981CEA-751B-8DC7-0257-8BDA58C79539}"/>
          </ac:spMkLst>
        </pc:spChg>
        <pc:spChg chg="mod">
          <ac:chgData name="Pauline Smout" userId="3153cd80-1eee-4546-abae-f15e9d00b721" providerId="ADAL" clId="{1B586BA9-3AF8-40E4-A7D6-2303DBC92803}" dt="2023-01-30T18:28:59.294" v="4" actId="1076"/>
          <ac:spMkLst>
            <pc:docMk/>
            <pc:sldMk cId="2464049271" sldId="295"/>
            <ac:spMk id="3" creationId="{8EDECE36-CF72-E157-044B-C22517EF5C91}"/>
          </ac:spMkLst>
        </pc:spChg>
        <pc:spChg chg="mod">
          <ac:chgData name="Pauline Smout" userId="3153cd80-1eee-4546-abae-f15e9d00b721" providerId="ADAL" clId="{1B586BA9-3AF8-40E4-A7D6-2303DBC92803}" dt="2023-01-30T18:28:59.294" v="4" actId="1076"/>
          <ac:spMkLst>
            <pc:docMk/>
            <pc:sldMk cId="2464049271" sldId="295"/>
            <ac:spMk id="5" creationId="{AE65E11B-E400-D9F2-10F7-8A4C6F125520}"/>
          </ac:spMkLst>
        </pc:spChg>
        <pc:spChg chg="mod">
          <ac:chgData name="Pauline Smout" userId="3153cd80-1eee-4546-abae-f15e9d00b721" providerId="ADAL" clId="{1B586BA9-3AF8-40E4-A7D6-2303DBC92803}" dt="2023-01-30T18:37:59.069" v="94" actId="11"/>
          <ac:spMkLst>
            <pc:docMk/>
            <pc:sldMk cId="2464049271" sldId="295"/>
            <ac:spMk id="6" creationId="{736F972D-5E48-9564-BF7C-13EBC47A933E}"/>
          </ac:spMkLst>
        </pc:spChg>
        <pc:spChg chg="mod">
          <ac:chgData name="Pauline Smout" userId="3153cd80-1eee-4546-abae-f15e9d00b721" providerId="ADAL" clId="{1B586BA9-3AF8-40E4-A7D6-2303DBC92803}" dt="2023-01-30T18:28:59.294" v="4" actId="1076"/>
          <ac:spMkLst>
            <pc:docMk/>
            <pc:sldMk cId="2464049271" sldId="295"/>
            <ac:spMk id="7" creationId="{859C7CCB-94EA-A3D7-5555-D83ACEC1656F}"/>
          </ac:spMkLst>
        </pc:spChg>
      </pc:sldChg>
      <pc:sldChg chg="add">
        <pc:chgData name="Pauline Smout" userId="3153cd80-1eee-4546-abae-f15e9d00b721" providerId="ADAL" clId="{1B586BA9-3AF8-40E4-A7D6-2303DBC92803}" dt="2023-01-30T18:43:08.724" v="95"/>
        <pc:sldMkLst>
          <pc:docMk/>
          <pc:sldMk cId="1890761560" sldId="299"/>
        </pc:sldMkLst>
      </pc:sldChg>
    </pc:docChg>
  </pc:docChgLst>
  <pc:docChgLst>
    <pc:chgData name="Pauline Smout" userId="3153cd80-1eee-4546-abae-f15e9d00b721" providerId="ADAL" clId="{526DD77C-3B4F-4B02-AC22-92226899FE10}"/>
    <pc:docChg chg="custSel modSld">
      <pc:chgData name="Pauline Smout" userId="3153cd80-1eee-4546-abae-f15e9d00b721" providerId="ADAL" clId="{526DD77C-3B4F-4B02-AC22-92226899FE10}" dt="2023-03-03T16:13:27.486" v="13" actId="1076"/>
      <pc:docMkLst>
        <pc:docMk/>
      </pc:docMkLst>
      <pc:sldChg chg="delSp modSp mod">
        <pc:chgData name="Pauline Smout" userId="3153cd80-1eee-4546-abae-f15e9d00b721" providerId="ADAL" clId="{526DD77C-3B4F-4B02-AC22-92226899FE10}" dt="2023-03-03T16:12:35.203" v="11" actId="14100"/>
        <pc:sldMkLst>
          <pc:docMk/>
          <pc:sldMk cId="762717214" sldId="297"/>
        </pc:sldMkLst>
        <pc:spChg chg="mod">
          <ac:chgData name="Pauline Smout" userId="3153cd80-1eee-4546-abae-f15e9d00b721" providerId="ADAL" clId="{526DD77C-3B4F-4B02-AC22-92226899FE10}" dt="2023-03-03T16:12:08.313" v="6" actId="1076"/>
          <ac:spMkLst>
            <pc:docMk/>
            <pc:sldMk cId="762717214" sldId="297"/>
            <ac:spMk id="9" creationId="{0174FB02-E08E-4BD2-693A-44024639E0D3}"/>
          </ac:spMkLst>
        </pc:spChg>
        <pc:spChg chg="mod">
          <ac:chgData name="Pauline Smout" userId="3153cd80-1eee-4546-abae-f15e9d00b721" providerId="ADAL" clId="{526DD77C-3B4F-4B02-AC22-92226899FE10}" dt="2023-03-03T16:12:08.313" v="6" actId="1076"/>
          <ac:spMkLst>
            <pc:docMk/>
            <pc:sldMk cId="762717214" sldId="297"/>
            <ac:spMk id="10" creationId="{4326A01A-8B07-09C3-94B1-A4E65EC56963}"/>
          </ac:spMkLst>
        </pc:spChg>
        <pc:spChg chg="mod">
          <ac:chgData name="Pauline Smout" userId="3153cd80-1eee-4546-abae-f15e9d00b721" providerId="ADAL" clId="{526DD77C-3B4F-4B02-AC22-92226899FE10}" dt="2023-03-03T16:12:08.313" v="6" actId="1076"/>
          <ac:spMkLst>
            <pc:docMk/>
            <pc:sldMk cId="762717214" sldId="297"/>
            <ac:spMk id="11" creationId="{16FAB1AA-B564-5F5E-D710-D3A43ABDB11D}"/>
          </ac:spMkLst>
        </pc:spChg>
        <pc:spChg chg="mod">
          <ac:chgData name="Pauline Smout" userId="3153cd80-1eee-4546-abae-f15e9d00b721" providerId="ADAL" clId="{526DD77C-3B4F-4B02-AC22-92226899FE10}" dt="2023-03-03T16:12:08.313" v="6" actId="1076"/>
          <ac:spMkLst>
            <pc:docMk/>
            <pc:sldMk cId="762717214" sldId="297"/>
            <ac:spMk id="12" creationId="{CE3ADC8B-AC7B-50C2-D665-B1E425045288}"/>
          </ac:spMkLst>
        </pc:spChg>
        <pc:spChg chg="mod">
          <ac:chgData name="Pauline Smout" userId="3153cd80-1eee-4546-abae-f15e9d00b721" providerId="ADAL" clId="{526DD77C-3B4F-4B02-AC22-92226899FE10}" dt="2023-03-03T16:11:25.167" v="2" actId="1076"/>
          <ac:spMkLst>
            <pc:docMk/>
            <pc:sldMk cId="762717214" sldId="297"/>
            <ac:spMk id="24" creationId="{13E18D9F-40B8-2D99-E065-4DFA3C53C6E8}"/>
          </ac:spMkLst>
        </pc:spChg>
        <pc:spChg chg="mod">
          <ac:chgData name="Pauline Smout" userId="3153cd80-1eee-4546-abae-f15e9d00b721" providerId="ADAL" clId="{526DD77C-3B4F-4B02-AC22-92226899FE10}" dt="2023-03-03T16:11:25.167" v="2" actId="1076"/>
          <ac:spMkLst>
            <pc:docMk/>
            <pc:sldMk cId="762717214" sldId="297"/>
            <ac:spMk id="25" creationId="{F8B30126-35FF-899F-04FD-98734F02406A}"/>
          </ac:spMkLst>
        </pc:spChg>
        <pc:spChg chg="mod">
          <ac:chgData name="Pauline Smout" userId="3153cd80-1eee-4546-abae-f15e9d00b721" providerId="ADAL" clId="{526DD77C-3B4F-4B02-AC22-92226899FE10}" dt="2023-03-03T16:11:25.167" v="2" actId="1076"/>
          <ac:spMkLst>
            <pc:docMk/>
            <pc:sldMk cId="762717214" sldId="297"/>
            <ac:spMk id="73" creationId="{65A327EA-1507-5CD2-DA5B-3D7F76DE3648}"/>
          </ac:spMkLst>
        </pc:spChg>
        <pc:spChg chg="mod">
          <ac:chgData name="Pauline Smout" userId="3153cd80-1eee-4546-abae-f15e9d00b721" providerId="ADAL" clId="{526DD77C-3B4F-4B02-AC22-92226899FE10}" dt="2023-03-03T16:11:25.167" v="2" actId="1076"/>
          <ac:spMkLst>
            <pc:docMk/>
            <pc:sldMk cId="762717214" sldId="297"/>
            <ac:spMk id="74" creationId="{331A0460-F050-58C0-7DDD-25735C1B0E47}"/>
          </ac:spMkLst>
        </pc:spChg>
        <pc:spChg chg="mod">
          <ac:chgData name="Pauline Smout" userId="3153cd80-1eee-4546-abae-f15e9d00b721" providerId="ADAL" clId="{526DD77C-3B4F-4B02-AC22-92226899FE10}" dt="2023-03-03T16:11:34.102" v="5" actId="14100"/>
          <ac:spMkLst>
            <pc:docMk/>
            <pc:sldMk cId="762717214" sldId="297"/>
            <ac:spMk id="80" creationId="{51ADA9C7-C3F3-D47F-F63C-9AA0ABA71631}"/>
          </ac:spMkLst>
        </pc:spChg>
        <pc:spChg chg="mod">
          <ac:chgData name="Pauline Smout" userId="3153cd80-1eee-4546-abae-f15e9d00b721" providerId="ADAL" clId="{526DD77C-3B4F-4B02-AC22-92226899FE10}" dt="2023-03-03T16:11:25.167" v="2" actId="1076"/>
          <ac:spMkLst>
            <pc:docMk/>
            <pc:sldMk cId="762717214" sldId="297"/>
            <ac:spMk id="89" creationId="{C571B0C6-D9DC-37C5-41A0-4527257A999D}"/>
          </ac:spMkLst>
        </pc:spChg>
        <pc:spChg chg="mod">
          <ac:chgData name="Pauline Smout" userId="3153cd80-1eee-4546-abae-f15e9d00b721" providerId="ADAL" clId="{526DD77C-3B4F-4B02-AC22-92226899FE10}" dt="2023-03-03T16:11:25.167" v="2" actId="1076"/>
          <ac:spMkLst>
            <pc:docMk/>
            <pc:sldMk cId="762717214" sldId="297"/>
            <ac:spMk id="90" creationId="{4140A5B8-2B2F-65FC-3B7F-B3AAFECF95FA}"/>
          </ac:spMkLst>
        </pc:spChg>
        <pc:spChg chg="mod">
          <ac:chgData name="Pauline Smout" userId="3153cd80-1eee-4546-abae-f15e9d00b721" providerId="ADAL" clId="{526DD77C-3B4F-4B02-AC22-92226899FE10}" dt="2023-03-03T16:12:15.912" v="7" actId="1076"/>
          <ac:spMkLst>
            <pc:docMk/>
            <pc:sldMk cId="762717214" sldId="297"/>
            <ac:spMk id="91" creationId="{E9854C9D-B469-46E7-1E91-907C629520F2}"/>
          </ac:spMkLst>
        </pc:spChg>
        <pc:spChg chg="mod">
          <ac:chgData name="Pauline Smout" userId="3153cd80-1eee-4546-abae-f15e9d00b721" providerId="ADAL" clId="{526DD77C-3B4F-4B02-AC22-92226899FE10}" dt="2023-03-03T16:12:08.313" v="6" actId="1076"/>
          <ac:spMkLst>
            <pc:docMk/>
            <pc:sldMk cId="762717214" sldId="297"/>
            <ac:spMk id="92" creationId="{A6F18743-4D2C-32E2-1A82-B855F54053F7}"/>
          </ac:spMkLst>
        </pc:spChg>
        <pc:spChg chg="mod">
          <ac:chgData name="Pauline Smout" userId="3153cd80-1eee-4546-abae-f15e9d00b721" providerId="ADAL" clId="{526DD77C-3B4F-4B02-AC22-92226899FE10}" dt="2023-03-03T16:12:08.313" v="6" actId="1076"/>
          <ac:spMkLst>
            <pc:docMk/>
            <pc:sldMk cId="762717214" sldId="297"/>
            <ac:spMk id="93" creationId="{B1D8DA60-B325-5D37-14FE-AC932541CD22}"/>
          </ac:spMkLst>
        </pc:spChg>
        <pc:spChg chg="mod">
          <ac:chgData name="Pauline Smout" userId="3153cd80-1eee-4546-abae-f15e9d00b721" providerId="ADAL" clId="{526DD77C-3B4F-4B02-AC22-92226899FE10}" dt="2023-03-03T16:12:08.313" v="6" actId="1076"/>
          <ac:spMkLst>
            <pc:docMk/>
            <pc:sldMk cId="762717214" sldId="297"/>
            <ac:spMk id="94" creationId="{DEC13FBB-7807-D8DE-C3FA-CA6B2F528CD1}"/>
          </ac:spMkLst>
        </pc:spChg>
        <pc:spChg chg="mod">
          <ac:chgData name="Pauline Smout" userId="3153cd80-1eee-4546-abae-f15e9d00b721" providerId="ADAL" clId="{526DD77C-3B4F-4B02-AC22-92226899FE10}" dt="2023-03-03T16:12:08.313" v="6" actId="1076"/>
          <ac:spMkLst>
            <pc:docMk/>
            <pc:sldMk cId="762717214" sldId="297"/>
            <ac:spMk id="95" creationId="{54C0F31D-8D77-DE06-99D6-6E8FA805DD59}"/>
          </ac:spMkLst>
        </pc:spChg>
        <pc:spChg chg="mod">
          <ac:chgData name="Pauline Smout" userId="3153cd80-1eee-4546-abae-f15e9d00b721" providerId="ADAL" clId="{526DD77C-3B4F-4B02-AC22-92226899FE10}" dt="2023-03-03T16:12:35.203" v="11" actId="14100"/>
          <ac:spMkLst>
            <pc:docMk/>
            <pc:sldMk cId="762717214" sldId="297"/>
            <ac:spMk id="96" creationId="{BEF6F416-8141-396B-8205-C25D0D38489E}"/>
          </ac:spMkLst>
        </pc:spChg>
        <pc:spChg chg="del">
          <ac:chgData name="Pauline Smout" userId="3153cd80-1eee-4546-abae-f15e9d00b721" providerId="ADAL" clId="{526DD77C-3B4F-4B02-AC22-92226899FE10}" dt="2023-03-03T16:10:54.872" v="0" actId="478"/>
          <ac:spMkLst>
            <pc:docMk/>
            <pc:sldMk cId="762717214" sldId="297"/>
            <ac:spMk id="103" creationId="{3B77A2C7-E2F7-500C-B2D7-5758161BC992}"/>
          </ac:spMkLst>
        </pc:spChg>
        <pc:spChg chg="del">
          <ac:chgData name="Pauline Smout" userId="3153cd80-1eee-4546-abae-f15e9d00b721" providerId="ADAL" clId="{526DD77C-3B4F-4B02-AC22-92226899FE10}" dt="2023-03-03T16:10:54.872" v="0" actId="478"/>
          <ac:spMkLst>
            <pc:docMk/>
            <pc:sldMk cId="762717214" sldId="297"/>
            <ac:spMk id="104" creationId="{DAB09BD7-584E-9AC5-739E-D2F4D43B382D}"/>
          </ac:spMkLst>
        </pc:spChg>
        <pc:spChg chg="mod">
          <ac:chgData name="Pauline Smout" userId="3153cd80-1eee-4546-abae-f15e9d00b721" providerId="ADAL" clId="{526DD77C-3B4F-4B02-AC22-92226899FE10}" dt="2023-03-03T16:11:25.167" v="2" actId="1076"/>
          <ac:spMkLst>
            <pc:docMk/>
            <pc:sldMk cId="762717214" sldId="297"/>
            <ac:spMk id="107" creationId="{6FE9D371-91A5-732C-F113-789754C50D6A}"/>
          </ac:spMkLst>
        </pc:spChg>
        <pc:spChg chg="mod">
          <ac:chgData name="Pauline Smout" userId="3153cd80-1eee-4546-abae-f15e9d00b721" providerId="ADAL" clId="{526DD77C-3B4F-4B02-AC22-92226899FE10}" dt="2023-03-03T16:11:25.167" v="2" actId="1076"/>
          <ac:spMkLst>
            <pc:docMk/>
            <pc:sldMk cId="762717214" sldId="297"/>
            <ac:spMk id="108" creationId="{344E3A27-780A-1168-25F1-686D10B6DC09}"/>
          </ac:spMkLst>
        </pc:spChg>
      </pc:sldChg>
      <pc:sldChg chg="delSp modSp mod">
        <pc:chgData name="Pauline Smout" userId="3153cd80-1eee-4546-abae-f15e9d00b721" providerId="ADAL" clId="{526DD77C-3B4F-4B02-AC22-92226899FE10}" dt="2023-03-03T16:13:27.486" v="13" actId="1076"/>
        <pc:sldMkLst>
          <pc:docMk/>
          <pc:sldMk cId="1890761560" sldId="299"/>
        </pc:sldMkLst>
        <pc:spChg chg="mod">
          <ac:chgData name="Pauline Smout" userId="3153cd80-1eee-4546-abae-f15e9d00b721" providerId="ADAL" clId="{526DD77C-3B4F-4B02-AC22-92226899FE10}" dt="2023-03-03T16:13:27.486" v="13" actId="1076"/>
          <ac:spMkLst>
            <pc:docMk/>
            <pc:sldMk cId="1890761560" sldId="299"/>
            <ac:spMk id="2" creationId="{9AB15A8B-538E-6454-8184-F48DCAC469C8}"/>
          </ac:spMkLst>
        </pc:spChg>
        <pc:spChg chg="mod">
          <ac:chgData name="Pauline Smout" userId="3153cd80-1eee-4546-abae-f15e9d00b721" providerId="ADAL" clId="{526DD77C-3B4F-4B02-AC22-92226899FE10}" dt="2023-03-03T16:13:27.486" v="13" actId="1076"/>
          <ac:spMkLst>
            <pc:docMk/>
            <pc:sldMk cId="1890761560" sldId="299"/>
            <ac:spMk id="11" creationId="{372FA2D2-AB37-B5F5-402E-16FA83987D96}"/>
          </ac:spMkLst>
        </pc:spChg>
        <pc:spChg chg="del">
          <ac:chgData name="Pauline Smout" userId="3153cd80-1eee-4546-abae-f15e9d00b721" providerId="ADAL" clId="{526DD77C-3B4F-4B02-AC22-92226899FE10}" dt="2023-03-03T16:13:12.967" v="12" actId="478"/>
          <ac:spMkLst>
            <pc:docMk/>
            <pc:sldMk cId="1890761560" sldId="299"/>
            <ac:spMk id="15" creationId="{26D137AA-D9AE-B936-E82A-5604DC1B927A}"/>
          </ac:spMkLst>
        </pc:spChg>
      </pc:sldChg>
    </pc:docChg>
  </pc:docChgLst>
  <pc:docChgLst>
    <pc:chgData name="Joost Backer" userId="8c29b5bb-e4d6-42ee-892f-a84a7aaf169e" providerId="ADAL" clId="{EC751201-8D7D-43D3-A9A1-BAC45A753168}"/>
    <pc:docChg chg="undo custSel modSld modMainMaster replTag">
      <pc:chgData name="Joost Backer" userId="8c29b5bb-e4d6-42ee-892f-a84a7aaf169e" providerId="ADAL" clId="{EC751201-8D7D-43D3-A9A1-BAC45A753168}" dt="2023-01-26T11:54:47.603" v="870"/>
      <pc:docMkLst>
        <pc:docMk/>
      </pc:docMkLst>
      <pc:sldChg chg="addSp delSp modSp mod">
        <pc:chgData name="Joost Backer" userId="8c29b5bb-e4d6-42ee-892f-a84a7aaf169e" providerId="ADAL" clId="{EC751201-8D7D-43D3-A9A1-BAC45A753168}" dt="2023-01-26T11:54:38.379" v="845"/>
        <pc:sldMkLst>
          <pc:docMk/>
          <pc:sldMk cId="2464049271" sldId="295"/>
        </pc:sldMkLst>
        <pc:spChg chg="del">
          <ac:chgData name="Joost Backer" userId="8c29b5bb-e4d6-42ee-892f-a84a7aaf169e" providerId="ADAL" clId="{EC751201-8D7D-43D3-A9A1-BAC45A753168}" dt="2023-01-26T11:54:35.664" v="821" actId="478"/>
          <ac:spMkLst>
            <pc:docMk/>
            <pc:sldMk cId="2464049271" sldId="295"/>
            <ac:spMk id="2" creationId="{78B9794B-86DF-B2B9-4B9A-8A393DB40B9D}"/>
          </ac:spMkLst>
        </pc:spChg>
        <pc:spChg chg="add del mod">
          <ac:chgData name="Joost Backer" userId="8c29b5bb-e4d6-42ee-892f-a84a7aaf169e" providerId="ADAL" clId="{EC751201-8D7D-43D3-A9A1-BAC45A753168}" dt="2023-01-26T11:54:37.876" v="841" actId="478"/>
          <ac:spMkLst>
            <pc:docMk/>
            <pc:sldMk cId="2464049271" sldId="295"/>
            <ac:spMk id="10" creationId="{E6D42710-572C-3740-C18D-CC95FF93C6E9}"/>
          </ac:spMkLst>
        </pc:spChg>
        <pc:spChg chg="add mod">
          <ac:chgData name="Joost Backer" userId="8c29b5bb-e4d6-42ee-892f-a84a7aaf169e" providerId="ADAL" clId="{EC751201-8D7D-43D3-A9A1-BAC45A753168}" dt="2023-01-26T11:54:35.868" v="822"/>
          <ac:spMkLst>
            <pc:docMk/>
            <pc:sldMk cId="2464049271" sldId="295"/>
            <ac:spMk id="11" creationId="{6B264945-1DB5-4F95-9FAB-16D98E56D164}"/>
          </ac:spMkLst>
        </pc:spChg>
        <pc:graphicFrameChg chg="add mod ord modVis replST">
          <ac:chgData name="Joost Backer" userId="8c29b5bb-e4d6-42ee-892f-a84a7aaf169e" providerId="ADAL" clId="{EC751201-8D7D-43D3-A9A1-BAC45A753168}" dt="2023-01-26T11:54:38.379" v="845"/>
          <ac:graphicFrameMkLst>
            <pc:docMk/>
            <pc:sldMk cId="2464049271" sldId="295"/>
            <ac:graphicFrameMk id="12" creationId="{8D31EF3D-2426-29E2-156B-209816F738CA}"/>
          </ac:graphicFrameMkLst>
        </pc:graphicFrameChg>
      </pc:sldChg>
      <pc:sldChg chg="addSp delSp modSp mod">
        <pc:chgData name="Joost Backer" userId="8c29b5bb-e4d6-42ee-892f-a84a7aaf169e" providerId="ADAL" clId="{EC751201-8D7D-43D3-A9A1-BAC45A753168}" dt="2023-01-26T11:53:48.602" v="820"/>
        <pc:sldMkLst>
          <pc:docMk/>
          <pc:sldMk cId="762717214" sldId="297"/>
        </pc:sldMkLst>
        <pc:spChg chg="mod ord">
          <ac:chgData name="Joost Backer" userId="8c29b5bb-e4d6-42ee-892f-a84a7aaf169e" providerId="ADAL" clId="{EC751201-8D7D-43D3-A9A1-BAC45A753168}" dt="2023-01-26T11:53:43.675" v="694"/>
          <ac:spMkLst>
            <pc:docMk/>
            <pc:sldMk cId="762717214" sldId="297"/>
            <ac:spMk id="2" creationId="{6F3D49D7-FFE6-54CE-98F2-53DCB2A61DF1}"/>
          </ac:spMkLst>
        </pc:spChg>
        <pc:spChg chg="add mod ord">
          <ac:chgData name="Joost Backer" userId="8c29b5bb-e4d6-42ee-892f-a84a7aaf169e" providerId="ADAL" clId="{EC751201-8D7D-43D3-A9A1-BAC45A753168}" dt="2023-01-26T11:53:43.698" v="794"/>
          <ac:spMkLst>
            <pc:docMk/>
            <pc:sldMk cId="762717214" sldId="297"/>
            <ac:spMk id="3" creationId="{96167E21-C423-56B6-47DB-BEA4110AB18D}"/>
          </ac:spMkLst>
        </pc:spChg>
        <pc:spChg chg="add mod ord">
          <ac:chgData name="Joost Backer" userId="8c29b5bb-e4d6-42ee-892f-a84a7aaf169e" providerId="ADAL" clId="{EC751201-8D7D-43D3-A9A1-BAC45A753168}" dt="2023-01-26T11:53:43.698" v="796"/>
          <ac:spMkLst>
            <pc:docMk/>
            <pc:sldMk cId="762717214" sldId="297"/>
            <ac:spMk id="4" creationId="{BC9AC2D5-2DEB-1BC5-672A-CFA4846A2E3F}"/>
          </ac:spMkLst>
        </pc:spChg>
        <pc:spChg chg="add mod ord">
          <ac:chgData name="Joost Backer" userId="8c29b5bb-e4d6-42ee-892f-a84a7aaf169e" providerId="ADAL" clId="{EC751201-8D7D-43D3-A9A1-BAC45A753168}" dt="2023-01-26T11:53:43.699" v="798"/>
          <ac:spMkLst>
            <pc:docMk/>
            <pc:sldMk cId="762717214" sldId="297"/>
            <ac:spMk id="5" creationId="{98A2E16C-EE3F-A781-BF33-B690328C9B89}"/>
          </ac:spMkLst>
        </pc:spChg>
        <pc:spChg chg="add mod ord">
          <ac:chgData name="Joost Backer" userId="8c29b5bb-e4d6-42ee-892f-a84a7aaf169e" providerId="ADAL" clId="{EC751201-8D7D-43D3-A9A1-BAC45A753168}" dt="2023-01-26T11:53:43.699" v="800"/>
          <ac:spMkLst>
            <pc:docMk/>
            <pc:sldMk cId="762717214" sldId="297"/>
            <ac:spMk id="6" creationId="{FA422D4A-2D2F-7561-9A0A-195FFC721D57}"/>
          </ac:spMkLst>
        </pc:spChg>
        <pc:spChg chg="add mod ord">
          <ac:chgData name="Joost Backer" userId="8c29b5bb-e4d6-42ee-892f-a84a7aaf169e" providerId="ADAL" clId="{EC751201-8D7D-43D3-A9A1-BAC45A753168}" dt="2023-01-26T11:53:43.699" v="802"/>
          <ac:spMkLst>
            <pc:docMk/>
            <pc:sldMk cId="762717214" sldId="297"/>
            <ac:spMk id="7" creationId="{672DFE79-1542-E2D5-2CC1-31FD82A9B36B}"/>
          </ac:spMkLst>
        </pc:spChg>
        <pc:spChg chg="add mod ord">
          <ac:chgData name="Joost Backer" userId="8c29b5bb-e4d6-42ee-892f-a84a7aaf169e" providerId="ADAL" clId="{EC751201-8D7D-43D3-A9A1-BAC45A753168}" dt="2023-01-26T11:53:43.700" v="804"/>
          <ac:spMkLst>
            <pc:docMk/>
            <pc:sldMk cId="762717214" sldId="297"/>
            <ac:spMk id="8" creationId="{F22B098C-989D-B1CD-C31D-E79900C42F41}"/>
          </ac:spMkLst>
        </pc:spChg>
        <pc:spChg chg="add mod ord">
          <ac:chgData name="Joost Backer" userId="8c29b5bb-e4d6-42ee-892f-a84a7aaf169e" providerId="ADAL" clId="{EC751201-8D7D-43D3-A9A1-BAC45A753168}" dt="2023-01-26T11:53:43.700" v="806"/>
          <ac:spMkLst>
            <pc:docMk/>
            <pc:sldMk cId="762717214" sldId="297"/>
            <ac:spMk id="9" creationId="{0174FB02-E08E-4BD2-693A-44024639E0D3}"/>
          </ac:spMkLst>
        </pc:spChg>
        <pc:spChg chg="add mod ord">
          <ac:chgData name="Joost Backer" userId="8c29b5bb-e4d6-42ee-892f-a84a7aaf169e" providerId="ADAL" clId="{EC751201-8D7D-43D3-A9A1-BAC45A753168}" dt="2023-01-26T11:53:43.700" v="808"/>
          <ac:spMkLst>
            <pc:docMk/>
            <pc:sldMk cId="762717214" sldId="297"/>
            <ac:spMk id="10" creationId="{4326A01A-8B07-09C3-94B1-A4E65EC56963}"/>
          </ac:spMkLst>
        </pc:spChg>
        <pc:spChg chg="add mod ord">
          <ac:chgData name="Joost Backer" userId="8c29b5bb-e4d6-42ee-892f-a84a7aaf169e" providerId="ADAL" clId="{EC751201-8D7D-43D3-A9A1-BAC45A753168}" dt="2023-01-26T11:53:43.701" v="810"/>
          <ac:spMkLst>
            <pc:docMk/>
            <pc:sldMk cId="762717214" sldId="297"/>
            <ac:spMk id="11" creationId="{16FAB1AA-B564-5F5E-D710-D3A43ABDB11D}"/>
          </ac:spMkLst>
        </pc:spChg>
        <pc:spChg chg="add mod ord">
          <ac:chgData name="Joost Backer" userId="8c29b5bb-e4d6-42ee-892f-a84a7aaf169e" providerId="ADAL" clId="{EC751201-8D7D-43D3-A9A1-BAC45A753168}" dt="2023-01-26T11:53:43.701" v="812"/>
          <ac:spMkLst>
            <pc:docMk/>
            <pc:sldMk cId="762717214" sldId="297"/>
            <ac:spMk id="12" creationId="{CE3ADC8B-AC7B-50C2-D665-B1E425045288}"/>
          </ac:spMkLst>
        </pc:spChg>
        <pc:spChg chg="add del mod">
          <ac:chgData name="Joost Backer" userId="8c29b5bb-e4d6-42ee-892f-a84a7aaf169e" providerId="ADAL" clId="{EC751201-8D7D-43D3-A9A1-BAC45A753168}" dt="2023-01-26T11:52:27.904" v="483" actId="478"/>
          <ac:spMkLst>
            <pc:docMk/>
            <pc:sldMk cId="762717214" sldId="297"/>
            <ac:spMk id="13" creationId="{FC1AB1BF-6E8E-C022-2960-43C076E0AB9F}"/>
          </ac:spMkLst>
        </pc:spChg>
        <pc:spChg chg="add mod ord">
          <ac:chgData name="Joost Backer" userId="8c29b5bb-e4d6-42ee-892f-a84a7aaf169e" providerId="ADAL" clId="{EC751201-8D7D-43D3-A9A1-BAC45A753168}" dt="2023-01-26T11:53:48.602" v="820"/>
          <ac:spMkLst>
            <pc:docMk/>
            <pc:sldMk cId="762717214" sldId="297"/>
            <ac:spMk id="17" creationId="{1BA4B35F-5901-4272-09CB-84AB2D310DA2}"/>
          </ac:spMkLst>
        </pc:spChg>
        <pc:spChg chg="add mod ord">
          <ac:chgData name="Joost Backer" userId="8c29b5bb-e4d6-42ee-892f-a84a7aaf169e" providerId="ADAL" clId="{EC751201-8D7D-43D3-A9A1-BAC45A753168}" dt="2023-01-26T11:53:48.101" v="818"/>
          <ac:spMkLst>
            <pc:docMk/>
            <pc:sldMk cId="762717214" sldId="297"/>
            <ac:spMk id="19" creationId="{3084EEE1-1A21-11CB-60A5-842DFBC7CF0B}"/>
          </ac:spMkLst>
        </pc:spChg>
        <pc:spChg chg="mod ord">
          <ac:chgData name="Joost Backer" userId="8c29b5bb-e4d6-42ee-892f-a84a7aaf169e" providerId="ADAL" clId="{EC751201-8D7D-43D3-A9A1-BAC45A753168}" dt="2023-01-26T11:53:43.675" v="696"/>
          <ac:spMkLst>
            <pc:docMk/>
            <pc:sldMk cId="762717214" sldId="297"/>
            <ac:spMk id="57" creationId="{C0F3EBCE-FDCA-695A-997E-8EA73617A63D}"/>
          </ac:spMkLst>
        </pc:spChg>
        <pc:spChg chg="mod ord">
          <ac:chgData name="Joost Backer" userId="8c29b5bb-e4d6-42ee-892f-a84a7aaf169e" providerId="ADAL" clId="{EC751201-8D7D-43D3-A9A1-BAC45A753168}" dt="2023-01-26T11:53:43.676" v="698"/>
          <ac:spMkLst>
            <pc:docMk/>
            <pc:sldMk cId="762717214" sldId="297"/>
            <ac:spMk id="58" creationId="{D40422C3-F0EC-575D-1C98-D41794B20917}"/>
          </ac:spMkLst>
        </pc:spChg>
        <pc:spChg chg="mod ord">
          <ac:chgData name="Joost Backer" userId="8c29b5bb-e4d6-42ee-892f-a84a7aaf169e" providerId="ADAL" clId="{EC751201-8D7D-43D3-A9A1-BAC45A753168}" dt="2023-01-26T11:53:43.676" v="700"/>
          <ac:spMkLst>
            <pc:docMk/>
            <pc:sldMk cId="762717214" sldId="297"/>
            <ac:spMk id="59" creationId="{9D0238AD-9AD8-33A3-8F8E-887BA96717F5}"/>
          </ac:spMkLst>
        </pc:spChg>
        <pc:spChg chg="mod ord">
          <ac:chgData name="Joost Backer" userId="8c29b5bb-e4d6-42ee-892f-a84a7aaf169e" providerId="ADAL" clId="{EC751201-8D7D-43D3-A9A1-BAC45A753168}" dt="2023-01-26T11:53:43.676" v="702"/>
          <ac:spMkLst>
            <pc:docMk/>
            <pc:sldMk cId="762717214" sldId="297"/>
            <ac:spMk id="60" creationId="{C034150A-9168-4B00-C6E3-FDFF8A0EB6DD}"/>
          </ac:spMkLst>
        </pc:spChg>
        <pc:spChg chg="mod ord">
          <ac:chgData name="Joost Backer" userId="8c29b5bb-e4d6-42ee-892f-a84a7aaf169e" providerId="ADAL" clId="{EC751201-8D7D-43D3-A9A1-BAC45A753168}" dt="2023-01-26T11:53:43.677" v="706"/>
          <ac:spMkLst>
            <pc:docMk/>
            <pc:sldMk cId="762717214" sldId="297"/>
            <ac:spMk id="65" creationId="{CA123E24-5143-B2CE-01CC-5B2F73487954}"/>
          </ac:spMkLst>
        </pc:spChg>
        <pc:spChg chg="mod ord">
          <ac:chgData name="Joost Backer" userId="8c29b5bb-e4d6-42ee-892f-a84a7aaf169e" providerId="ADAL" clId="{EC751201-8D7D-43D3-A9A1-BAC45A753168}" dt="2023-01-26T11:53:43.678" v="708"/>
          <ac:spMkLst>
            <pc:docMk/>
            <pc:sldMk cId="762717214" sldId="297"/>
            <ac:spMk id="66" creationId="{BD06E82A-E71E-760D-2654-9DE48926F8BE}"/>
          </ac:spMkLst>
        </pc:spChg>
        <pc:spChg chg="mod ord">
          <ac:chgData name="Joost Backer" userId="8c29b5bb-e4d6-42ee-892f-a84a7aaf169e" providerId="ADAL" clId="{EC751201-8D7D-43D3-A9A1-BAC45A753168}" dt="2023-01-26T11:53:43.678" v="710"/>
          <ac:spMkLst>
            <pc:docMk/>
            <pc:sldMk cId="762717214" sldId="297"/>
            <ac:spMk id="67" creationId="{F81601BF-B6D8-1FA9-029C-913528DFBB4C}"/>
          </ac:spMkLst>
        </pc:spChg>
        <pc:spChg chg="mod ord">
          <ac:chgData name="Joost Backer" userId="8c29b5bb-e4d6-42ee-892f-a84a7aaf169e" providerId="ADAL" clId="{EC751201-8D7D-43D3-A9A1-BAC45A753168}" dt="2023-01-26T11:53:43.678" v="712"/>
          <ac:spMkLst>
            <pc:docMk/>
            <pc:sldMk cId="762717214" sldId="297"/>
            <ac:spMk id="68" creationId="{30820181-5781-4DEA-1E39-BA34505FCAB0}"/>
          </ac:spMkLst>
        </pc:spChg>
        <pc:spChg chg="mod ord">
          <ac:chgData name="Joost Backer" userId="8c29b5bb-e4d6-42ee-892f-a84a7aaf169e" providerId="ADAL" clId="{EC751201-8D7D-43D3-A9A1-BAC45A753168}" dt="2023-01-26T11:53:43.679" v="714"/>
          <ac:spMkLst>
            <pc:docMk/>
            <pc:sldMk cId="762717214" sldId="297"/>
            <ac:spMk id="69" creationId="{A4C22BE1-6538-43F4-558D-526788BEB08F}"/>
          </ac:spMkLst>
        </pc:spChg>
        <pc:spChg chg="mod ord">
          <ac:chgData name="Joost Backer" userId="8c29b5bb-e4d6-42ee-892f-a84a7aaf169e" providerId="ADAL" clId="{EC751201-8D7D-43D3-A9A1-BAC45A753168}" dt="2023-01-26T11:53:43.679" v="716"/>
          <ac:spMkLst>
            <pc:docMk/>
            <pc:sldMk cId="762717214" sldId="297"/>
            <ac:spMk id="70" creationId="{2516F9F6-287B-AB19-8A54-1853352B13B1}"/>
          </ac:spMkLst>
        </pc:spChg>
        <pc:spChg chg="mod ord">
          <ac:chgData name="Joost Backer" userId="8c29b5bb-e4d6-42ee-892f-a84a7aaf169e" providerId="ADAL" clId="{EC751201-8D7D-43D3-A9A1-BAC45A753168}" dt="2023-01-26T11:53:43.680" v="718"/>
          <ac:spMkLst>
            <pc:docMk/>
            <pc:sldMk cId="762717214" sldId="297"/>
            <ac:spMk id="71" creationId="{BE46BFC8-CFD1-B071-47D9-12F35C52DF69}"/>
          </ac:spMkLst>
        </pc:spChg>
        <pc:spChg chg="mod ord">
          <ac:chgData name="Joost Backer" userId="8c29b5bb-e4d6-42ee-892f-a84a7aaf169e" providerId="ADAL" clId="{EC751201-8D7D-43D3-A9A1-BAC45A753168}" dt="2023-01-26T11:53:43.680" v="720"/>
          <ac:spMkLst>
            <pc:docMk/>
            <pc:sldMk cId="762717214" sldId="297"/>
            <ac:spMk id="72" creationId="{B5DDF0A4-583F-3E99-C966-0FF6B57BDCBC}"/>
          </ac:spMkLst>
        </pc:spChg>
        <pc:spChg chg="mod ord">
          <ac:chgData name="Joost Backer" userId="8c29b5bb-e4d6-42ee-892f-a84a7aaf169e" providerId="ADAL" clId="{EC751201-8D7D-43D3-A9A1-BAC45A753168}" dt="2023-01-26T11:53:43.680" v="722"/>
          <ac:spMkLst>
            <pc:docMk/>
            <pc:sldMk cId="762717214" sldId="297"/>
            <ac:spMk id="73" creationId="{65A327EA-1507-5CD2-DA5B-3D7F76DE3648}"/>
          </ac:spMkLst>
        </pc:spChg>
        <pc:spChg chg="mod ord">
          <ac:chgData name="Joost Backer" userId="8c29b5bb-e4d6-42ee-892f-a84a7aaf169e" providerId="ADAL" clId="{EC751201-8D7D-43D3-A9A1-BAC45A753168}" dt="2023-01-26T11:53:43.681" v="724"/>
          <ac:spMkLst>
            <pc:docMk/>
            <pc:sldMk cId="762717214" sldId="297"/>
            <ac:spMk id="74" creationId="{331A0460-F050-58C0-7DDD-25735C1B0E47}"/>
          </ac:spMkLst>
        </pc:spChg>
        <pc:spChg chg="mod ord">
          <ac:chgData name="Joost Backer" userId="8c29b5bb-e4d6-42ee-892f-a84a7aaf169e" providerId="ADAL" clId="{EC751201-8D7D-43D3-A9A1-BAC45A753168}" dt="2023-01-26T11:53:43.681" v="726"/>
          <ac:spMkLst>
            <pc:docMk/>
            <pc:sldMk cId="762717214" sldId="297"/>
            <ac:spMk id="75" creationId="{52F270CC-612E-25CA-BCB7-2BB8F2445711}"/>
          </ac:spMkLst>
        </pc:spChg>
        <pc:spChg chg="mod ord">
          <ac:chgData name="Joost Backer" userId="8c29b5bb-e4d6-42ee-892f-a84a7aaf169e" providerId="ADAL" clId="{EC751201-8D7D-43D3-A9A1-BAC45A753168}" dt="2023-01-26T11:53:43.683" v="728"/>
          <ac:spMkLst>
            <pc:docMk/>
            <pc:sldMk cId="762717214" sldId="297"/>
            <ac:spMk id="76" creationId="{040AFC3E-4714-06E8-F753-EE2A07A33547}"/>
          </ac:spMkLst>
        </pc:spChg>
        <pc:spChg chg="mod ord">
          <ac:chgData name="Joost Backer" userId="8c29b5bb-e4d6-42ee-892f-a84a7aaf169e" providerId="ADAL" clId="{EC751201-8D7D-43D3-A9A1-BAC45A753168}" dt="2023-01-26T11:53:43.683" v="730"/>
          <ac:spMkLst>
            <pc:docMk/>
            <pc:sldMk cId="762717214" sldId="297"/>
            <ac:spMk id="77" creationId="{F9A12F4A-91FA-C745-230C-2F169268255F}"/>
          </ac:spMkLst>
        </pc:spChg>
        <pc:spChg chg="mod ord">
          <ac:chgData name="Joost Backer" userId="8c29b5bb-e4d6-42ee-892f-a84a7aaf169e" providerId="ADAL" clId="{EC751201-8D7D-43D3-A9A1-BAC45A753168}" dt="2023-01-26T11:53:43.684" v="732"/>
          <ac:spMkLst>
            <pc:docMk/>
            <pc:sldMk cId="762717214" sldId="297"/>
            <ac:spMk id="78" creationId="{5C1F215F-8371-2105-D12C-399B26B8035F}"/>
          </ac:spMkLst>
        </pc:spChg>
        <pc:spChg chg="mod ord">
          <ac:chgData name="Joost Backer" userId="8c29b5bb-e4d6-42ee-892f-a84a7aaf169e" providerId="ADAL" clId="{EC751201-8D7D-43D3-A9A1-BAC45A753168}" dt="2023-01-26T11:53:43.684" v="734"/>
          <ac:spMkLst>
            <pc:docMk/>
            <pc:sldMk cId="762717214" sldId="297"/>
            <ac:spMk id="79" creationId="{C831B022-7B0F-553E-5DA0-79B5B5370CA1}"/>
          </ac:spMkLst>
        </pc:spChg>
        <pc:spChg chg="mod ord">
          <ac:chgData name="Joost Backer" userId="8c29b5bb-e4d6-42ee-892f-a84a7aaf169e" providerId="ADAL" clId="{EC751201-8D7D-43D3-A9A1-BAC45A753168}" dt="2023-01-26T11:53:43.685" v="736"/>
          <ac:spMkLst>
            <pc:docMk/>
            <pc:sldMk cId="762717214" sldId="297"/>
            <ac:spMk id="80" creationId="{51ADA9C7-C3F3-D47F-F63C-9AA0ABA71631}"/>
          </ac:spMkLst>
        </pc:spChg>
        <pc:spChg chg="mod ord">
          <ac:chgData name="Joost Backer" userId="8c29b5bb-e4d6-42ee-892f-a84a7aaf169e" providerId="ADAL" clId="{EC751201-8D7D-43D3-A9A1-BAC45A753168}" dt="2023-01-26T11:53:43.685" v="738"/>
          <ac:spMkLst>
            <pc:docMk/>
            <pc:sldMk cId="762717214" sldId="297"/>
            <ac:spMk id="81" creationId="{FB18FB8C-70E3-2117-D3AD-A88E1B124550}"/>
          </ac:spMkLst>
        </pc:spChg>
        <pc:spChg chg="mod ord">
          <ac:chgData name="Joost Backer" userId="8c29b5bb-e4d6-42ee-892f-a84a7aaf169e" providerId="ADAL" clId="{EC751201-8D7D-43D3-A9A1-BAC45A753168}" dt="2023-01-26T11:53:43.686" v="740"/>
          <ac:spMkLst>
            <pc:docMk/>
            <pc:sldMk cId="762717214" sldId="297"/>
            <ac:spMk id="82" creationId="{2176E263-00BA-CBD8-3B2A-529F3346184B}"/>
          </ac:spMkLst>
        </pc:spChg>
        <pc:spChg chg="mod ord">
          <ac:chgData name="Joost Backer" userId="8c29b5bb-e4d6-42ee-892f-a84a7aaf169e" providerId="ADAL" clId="{EC751201-8D7D-43D3-A9A1-BAC45A753168}" dt="2023-01-26T11:53:43.686" v="742"/>
          <ac:spMkLst>
            <pc:docMk/>
            <pc:sldMk cId="762717214" sldId="297"/>
            <ac:spMk id="83" creationId="{11AC053B-622E-3CF2-6512-F511FF048A1B}"/>
          </ac:spMkLst>
        </pc:spChg>
        <pc:spChg chg="mod ord">
          <ac:chgData name="Joost Backer" userId="8c29b5bb-e4d6-42ee-892f-a84a7aaf169e" providerId="ADAL" clId="{EC751201-8D7D-43D3-A9A1-BAC45A753168}" dt="2023-01-26T11:53:43.686" v="744"/>
          <ac:spMkLst>
            <pc:docMk/>
            <pc:sldMk cId="762717214" sldId="297"/>
            <ac:spMk id="84" creationId="{76F304F3-96A0-422B-3029-FDFEF86C2402}"/>
          </ac:spMkLst>
        </pc:spChg>
        <pc:spChg chg="mod ord">
          <ac:chgData name="Joost Backer" userId="8c29b5bb-e4d6-42ee-892f-a84a7aaf169e" providerId="ADAL" clId="{EC751201-8D7D-43D3-A9A1-BAC45A753168}" dt="2023-01-26T11:53:43.687" v="746"/>
          <ac:spMkLst>
            <pc:docMk/>
            <pc:sldMk cId="762717214" sldId="297"/>
            <ac:spMk id="85" creationId="{E5E8BBC7-6ADE-A6CC-712F-9CC1B3D6463C}"/>
          </ac:spMkLst>
        </pc:spChg>
        <pc:spChg chg="mod ord">
          <ac:chgData name="Joost Backer" userId="8c29b5bb-e4d6-42ee-892f-a84a7aaf169e" providerId="ADAL" clId="{EC751201-8D7D-43D3-A9A1-BAC45A753168}" dt="2023-01-26T11:53:43.687" v="748"/>
          <ac:spMkLst>
            <pc:docMk/>
            <pc:sldMk cId="762717214" sldId="297"/>
            <ac:spMk id="86" creationId="{B4D80D4B-467E-9A43-9460-3229EEDE5A91}"/>
          </ac:spMkLst>
        </pc:spChg>
        <pc:spChg chg="mod ord">
          <ac:chgData name="Joost Backer" userId="8c29b5bb-e4d6-42ee-892f-a84a7aaf169e" providerId="ADAL" clId="{EC751201-8D7D-43D3-A9A1-BAC45A753168}" dt="2023-01-26T11:53:43.687" v="750"/>
          <ac:spMkLst>
            <pc:docMk/>
            <pc:sldMk cId="762717214" sldId="297"/>
            <ac:spMk id="87" creationId="{4B3E1462-6A37-9B9F-9F1D-A6872A008718}"/>
          </ac:spMkLst>
        </pc:spChg>
        <pc:spChg chg="mod ord">
          <ac:chgData name="Joost Backer" userId="8c29b5bb-e4d6-42ee-892f-a84a7aaf169e" providerId="ADAL" clId="{EC751201-8D7D-43D3-A9A1-BAC45A753168}" dt="2023-01-26T11:53:43.688" v="752"/>
          <ac:spMkLst>
            <pc:docMk/>
            <pc:sldMk cId="762717214" sldId="297"/>
            <ac:spMk id="88" creationId="{BBEC990D-6E1E-9DFB-66DA-0D6B288F78BA}"/>
          </ac:spMkLst>
        </pc:spChg>
        <pc:spChg chg="mod ord">
          <ac:chgData name="Joost Backer" userId="8c29b5bb-e4d6-42ee-892f-a84a7aaf169e" providerId="ADAL" clId="{EC751201-8D7D-43D3-A9A1-BAC45A753168}" dt="2023-01-26T11:53:43.688" v="754"/>
          <ac:spMkLst>
            <pc:docMk/>
            <pc:sldMk cId="762717214" sldId="297"/>
            <ac:spMk id="89" creationId="{C571B0C6-D9DC-37C5-41A0-4527257A999D}"/>
          </ac:spMkLst>
        </pc:spChg>
        <pc:spChg chg="mod ord">
          <ac:chgData name="Joost Backer" userId="8c29b5bb-e4d6-42ee-892f-a84a7aaf169e" providerId="ADAL" clId="{EC751201-8D7D-43D3-A9A1-BAC45A753168}" dt="2023-01-26T11:53:43.689" v="756"/>
          <ac:spMkLst>
            <pc:docMk/>
            <pc:sldMk cId="762717214" sldId="297"/>
            <ac:spMk id="90" creationId="{4140A5B8-2B2F-65FC-3B7F-B3AAFECF95FA}"/>
          </ac:spMkLst>
        </pc:spChg>
        <pc:spChg chg="mod ord">
          <ac:chgData name="Joost Backer" userId="8c29b5bb-e4d6-42ee-892f-a84a7aaf169e" providerId="ADAL" clId="{EC751201-8D7D-43D3-A9A1-BAC45A753168}" dt="2023-01-26T11:53:43.689" v="758"/>
          <ac:spMkLst>
            <pc:docMk/>
            <pc:sldMk cId="762717214" sldId="297"/>
            <ac:spMk id="91" creationId="{E9854C9D-B469-46E7-1E91-907C629520F2}"/>
          </ac:spMkLst>
        </pc:spChg>
        <pc:spChg chg="mod ord">
          <ac:chgData name="Joost Backer" userId="8c29b5bb-e4d6-42ee-892f-a84a7aaf169e" providerId="ADAL" clId="{EC751201-8D7D-43D3-A9A1-BAC45A753168}" dt="2023-01-26T11:53:43.689" v="760"/>
          <ac:spMkLst>
            <pc:docMk/>
            <pc:sldMk cId="762717214" sldId="297"/>
            <ac:spMk id="92" creationId="{A6F18743-4D2C-32E2-1A82-B855F54053F7}"/>
          </ac:spMkLst>
        </pc:spChg>
        <pc:spChg chg="mod ord">
          <ac:chgData name="Joost Backer" userId="8c29b5bb-e4d6-42ee-892f-a84a7aaf169e" providerId="ADAL" clId="{EC751201-8D7D-43D3-A9A1-BAC45A753168}" dt="2023-01-26T11:53:43.690" v="762"/>
          <ac:spMkLst>
            <pc:docMk/>
            <pc:sldMk cId="762717214" sldId="297"/>
            <ac:spMk id="93" creationId="{B1D8DA60-B325-5D37-14FE-AC932541CD22}"/>
          </ac:spMkLst>
        </pc:spChg>
        <pc:spChg chg="mod ord">
          <ac:chgData name="Joost Backer" userId="8c29b5bb-e4d6-42ee-892f-a84a7aaf169e" providerId="ADAL" clId="{EC751201-8D7D-43D3-A9A1-BAC45A753168}" dt="2023-01-26T11:53:43.690" v="764"/>
          <ac:spMkLst>
            <pc:docMk/>
            <pc:sldMk cId="762717214" sldId="297"/>
            <ac:spMk id="94" creationId="{DEC13FBB-7807-D8DE-C3FA-CA6B2F528CD1}"/>
          </ac:spMkLst>
        </pc:spChg>
        <pc:spChg chg="mod ord">
          <ac:chgData name="Joost Backer" userId="8c29b5bb-e4d6-42ee-892f-a84a7aaf169e" providerId="ADAL" clId="{EC751201-8D7D-43D3-A9A1-BAC45A753168}" dt="2023-01-26T11:53:43.690" v="766"/>
          <ac:spMkLst>
            <pc:docMk/>
            <pc:sldMk cId="762717214" sldId="297"/>
            <ac:spMk id="95" creationId="{54C0F31D-8D77-DE06-99D6-6E8FA805DD59}"/>
          </ac:spMkLst>
        </pc:spChg>
        <pc:spChg chg="mod ord">
          <ac:chgData name="Joost Backer" userId="8c29b5bb-e4d6-42ee-892f-a84a7aaf169e" providerId="ADAL" clId="{EC751201-8D7D-43D3-A9A1-BAC45A753168}" dt="2023-01-26T11:53:43.691" v="768"/>
          <ac:spMkLst>
            <pc:docMk/>
            <pc:sldMk cId="762717214" sldId="297"/>
            <ac:spMk id="96" creationId="{BEF6F416-8141-396B-8205-C25D0D38489E}"/>
          </ac:spMkLst>
        </pc:spChg>
        <pc:spChg chg="mod ord">
          <ac:chgData name="Joost Backer" userId="8c29b5bb-e4d6-42ee-892f-a84a7aaf169e" providerId="ADAL" clId="{EC751201-8D7D-43D3-A9A1-BAC45A753168}" dt="2023-01-26T11:53:43.691" v="770"/>
          <ac:spMkLst>
            <pc:docMk/>
            <pc:sldMk cId="762717214" sldId="297"/>
            <ac:spMk id="97" creationId="{D92DB4FA-D5AB-A169-A85A-6CC62B5AAC6C}"/>
          </ac:spMkLst>
        </pc:spChg>
        <pc:spChg chg="mod ord">
          <ac:chgData name="Joost Backer" userId="8c29b5bb-e4d6-42ee-892f-a84a7aaf169e" providerId="ADAL" clId="{EC751201-8D7D-43D3-A9A1-BAC45A753168}" dt="2023-01-26T11:53:43.691" v="772"/>
          <ac:spMkLst>
            <pc:docMk/>
            <pc:sldMk cId="762717214" sldId="297"/>
            <ac:spMk id="98" creationId="{0FDAF7D0-2B59-D3C8-560F-A670FB98460C}"/>
          </ac:spMkLst>
        </pc:spChg>
        <pc:spChg chg="mod ord">
          <ac:chgData name="Joost Backer" userId="8c29b5bb-e4d6-42ee-892f-a84a7aaf169e" providerId="ADAL" clId="{EC751201-8D7D-43D3-A9A1-BAC45A753168}" dt="2023-01-26T11:53:43.693" v="774"/>
          <ac:spMkLst>
            <pc:docMk/>
            <pc:sldMk cId="762717214" sldId="297"/>
            <ac:spMk id="99" creationId="{73A1776C-01CC-21FE-44B3-52E00BF15C0F}"/>
          </ac:spMkLst>
        </pc:spChg>
        <pc:spChg chg="mod ord">
          <ac:chgData name="Joost Backer" userId="8c29b5bb-e4d6-42ee-892f-a84a7aaf169e" providerId="ADAL" clId="{EC751201-8D7D-43D3-A9A1-BAC45A753168}" dt="2023-01-26T11:53:43.694" v="776"/>
          <ac:spMkLst>
            <pc:docMk/>
            <pc:sldMk cId="762717214" sldId="297"/>
            <ac:spMk id="100" creationId="{75435676-EAD1-9A9C-85D2-C04F2A073464}"/>
          </ac:spMkLst>
        </pc:spChg>
        <pc:spChg chg="del">
          <ac:chgData name="Joost Backer" userId="8c29b5bb-e4d6-42ee-892f-a84a7aaf169e" providerId="ADAL" clId="{EC751201-8D7D-43D3-A9A1-BAC45A753168}" dt="2023-01-26T11:44:43.421" v="163" actId="478"/>
          <ac:spMkLst>
            <pc:docMk/>
            <pc:sldMk cId="762717214" sldId="297"/>
            <ac:spMk id="101" creationId="{ACF33F29-131E-53AB-647A-93537A3F1947}"/>
          </ac:spMkLst>
        </pc:spChg>
        <pc:spChg chg="del">
          <ac:chgData name="Joost Backer" userId="8c29b5bb-e4d6-42ee-892f-a84a7aaf169e" providerId="ADAL" clId="{EC751201-8D7D-43D3-A9A1-BAC45A753168}" dt="2023-01-26T11:44:43.421" v="163" actId="478"/>
          <ac:spMkLst>
            <pc:docMk/>
            <pc:sldMk cId="762717214" sldId="297"/>
            <ac:spMk id="102" creationId="{9839484A-AB7A-6345-B66D-326A1DCDB4F5}"/>
          </ac:spMkLst>
        </pc:spChg>
        <pc:spChg chg="mod ord">
          <ac:chgData name="Joost Backer" userId="8c29b5bb-e4d6-42ee-892f-a84a7aaf169e" providerId="ADAL" clId="{EC751201-8D7D-43D3-A9A1-BAC45A753168}" dt="2023-01-26T11:53:43.695" v="778"/>
          <ac:spMkLst>
            <pc:docMk/>
            <pc:sldMk cId="762717214" sldId="297"/>
            <ac:spMk id="103" creationId="{3B77A2C7-E2F7-500C-B2D7-5758161BC992}"/>
          </ac:spMkLst>
        </pc:spChg>
        <pc:spChg chg="mod ord">
          <ac:chgData name="Joost Backer" userId="8c29b5bb-e4d6-42ee-892f-a84a7aaf169e" providerId="ADAL" clId="{EC751201-8D7D-43D3-A9A1-BAC45A753168}" dt="2023-01-26T11:53:43.695" v="780"/>
          <ac:spMkLst>
            <pc:docMk/>
            <pc:sldMk cId="762717214" sldId="297"/>
            <ac:spMk id="104" creationId="{DAB09BD7-584E-9AC5-739E-D2F4D43B382D}"/>
          </ac:spMkLst>
        </pc:spChg>
        <pc:spChg chg="mod ord">
          <ac:chgData name="Joost Backer" userId="8c29b5bb-e4d6-42ee-892f-a84a7aaf169e" providerId="ADAL" clId="{EC751201-8D7D-43D3-A9A1-BAC45A753168}" dt="2023-01-26T11:53:43.696" v="782"/>
          <ac:spMkLst>
            <pc:docMk/>
            <pc:sldMk cId="762717214" sldId="297"/>
            <ac:spMk id="105" creationId="{5CE376B9-D6A4-1ED1-BEA0-CC6D99B61D56}"/>
          </ac:spMkLst>
        </pc:spChg>
        <pc:spChg chg="mod ord">
          <ac:chgData name="Joost Backer" userId="8c29b5bb-e4d6-42ee-892f-a84a7aaf169e" providerId="ADAL" clId="{EC751201-8D7D-43D3-A9A1-BAC45A753168}" dt="2023-01-26T11:53:43.696" v="784"/>
          <ac:spMkLst>
            <pc:docMk/>
            <pc:sldMk cId="762717214" sldId="297"/>
            <ac:spMk id="106" creationId="{E715C730-A536-106D-36FC-37F73FE001AF}"/>
          </ac:spMkLst>
        </pc:spChg>
        <pc:spChg chg="mod ord">
          <ac:chgData name="Joost Backer" userId="8c29b5bb-e4d6-42ee-892f-a84a7aaf169e" providerId="ADAL" clId="{EC751201-8D7D-43D3-A9A1-BAC45A753168}" dt="2023-01-26T11:53:43.697" v="786"/>
          <ac:spMkLst>
            <pc:docMk/>
            <pc:sldMk cId="762717214" sldId="297"/>
            <ac:spMk id="107" creationId="{6FE9D371-91A5-732C-F113-789754C50D6A}"/>
          </ac:spMkLst>
        </pc:spChg>
        <pc:spChg chg="mod ord">
          <ac:chgData name="Joost Backer" userId="8c29b5bb-e4d6-42ee-892f-a84a7aaf169e" providerId="ADAL" clId="{EC751201-8D7D-43D3-A9A1-BAC45A753168}" dt="2023-01-26T11:53:43.697" v="788"/>
          <ac:spMkLst>
            <pc:docMk/>
            <pc:sldMk cId="762717214" sldId="297"/>
            <ac:spMk id="108" creationId="{344E3A27-780A-1168-25F1-686D10B6DC09}"/>
          </ac:spMkLst>
        </pc:spChg>
        <pc:spChg chg="mod ord">
          <ac:chgData name="Joost Backer" userId="8c29b5bb-e4d6-42ee-892f-a84a7aaf169e" providerId="ADAL" clId="{EC751201-8D7D-43D3-A9A1-BAC45A753168}" dt="2023-01-26T11:53:43.697" v="790"/>
          <ac:spMkLst>
            <pc:docMk/>
            <pc:sldMk cId="762717214" sldId="297"/>
            <ac:spMk id="109" creationId="{FA56423E-66E1-EE75-9E1A-63DBF651D3C1}"/>
          </ac:spMkLst>
        </pc:spChg>
        <pc:spChg chg="mod ord">
          <ac:chgData name="Joost Backer" userId="8c29b5bb-e4d6-42ee-892f-a84a7aaf169e" providerId="ADAL" clId="{EC751201-8D7D-43D3-A9A1-BAC45A753168}" dt="2023-01-26T11:53:43.698" v="792"/>
          <ac:spMkLst>
            <pc:docMk/>
            <pc:sldMk cId="762717214" sldId="297"/>
            <ac:spMk id="110" creationId="{6BBFE719-609C-4983-7967-44D197CC6019}"/>
          </ac:spMkLst>
        </pc:spChg>
        <pc:grpChg chg="mod ord">
          <ac:chgData name="Joost Backer" userId="8c29b5bb-e4d6-42ee-892f-a84a7aaf169e" providerId="ADAL" clId="{EC751201-8D7D-43D3-A9A1-BAC45A753168}" dt="2023-01-26T11:53:43.677" v="704"/>
          <ac:grpSpMkLst>
            <pc:docMk/>
            <pc:sldMk cId="762717214" sldId="297"/>
            <ac:grpSpMk id="62" creationId="{C11D3F79-883E-0C97-F76A-268F71BF0178}"/>
          </ac:grpSpMkLst>
        </pc:grpChg>
        <pc:graphicFrameChg chg="add mod ord modVis replST">
          <ac:chgData name="Joost Backer" userId="8c29b5bb-e4d6-42ee-892f-a84a7aaf169e" providerId="ADAL" clId="{EC751201-8D7D-43D3-A9A1-BAC45A753168}" dt="2023-01-26T11:53:43.704" v="816"/>
          <ac:graphicFrameMkLst>
            <pc:docMk/>
            <pc:sldMk cId="762717214" sldId="297"/>
            <ac:graphicFrameMk id="18" creationId="{948BCC26-C7BA-E811-454D-1C5653BE4A55}"/>
          </ac:graphicFrameMkLst>
        </pc:graphicFrameChg>
        <pc:cxnChg chg="add del mod">
          <ac:chgData name="Joost Backer" userId="8c29b5bb-e4d6-42ee-892f-a84a7aaf169e" providerId="ADAL" clId="{EC751201-8D7D-43D3-A9A1-BAC45A753168}" dt="2023-01-26T11:52:42.882" v="486" actId="478"/>
          <ac:cxnSpMkLst>
            <pc:docMk/>
            <pc:sldMk cId="762717214" sldId="297"/>
            <ac:cxnSpMk id="15" creationId="{0F8BF8DE-D4CC-3F5B-7658-BB44CAC73818}"/>
          </ac:cxnSpMkLst>
        </pc:cxnChg>
      </pc:sldChg>
      <pc:sldChg chg="addSp delSp modSp mod">
        <pc:chgData name="Joost Backer" userId="8c29b5bb-e4d6-42ee-892f-a84a7aaf169e" providerId="ADAL" clId="{EC751201-8D7D-43D3-A9A1-BAC45A753168}" dt="2023-01-26T11:54:47.603" v="870"/>
        <pc:sldMkLst>
          <pc:docMk/>
          <pc:sldMk cId="839669071" sldId="298"/>
        </pc:sldMkLst>
        <pc:spChg chg="del">
          <ac:chgData name="Joost Backer" userId="8c29b5bb-e4d6-42ee-892f-a84a7aaf169e" providerId="ADAL" clId="{EC751201-8D7D-43D3-A9A1-BAC45A753168}" dt="2023-01-26T11:54:44.040" v="846" actId="478"/>
          <ac:spMkLst>
            <pc:docMk/>
            <pc:sldMk cId="839669071" sldId="298"/>
            <ac:spMk id="2" creationId="{78B9794B-86DF-B2B9-4B9A-8A393DB40B9D}"/>
          </ac:spMkLst>
        </pc:spChg>
        <pc:spChg chg="add del mod">
          <ac:chgData name="Joost Backer" userId="8c29b5bb-e4d6-42ee-892f-a84a7aaf169e" providerId="ADAL" clId="{EC751201-8D7D-43D3-A9A1-BAC45A753168}" dt="2023-01-26T11:54:47.089" v="865" actId="478"/>
          <ac:spMkLst>
            <pc:docMk/>
            <pc:sldMk cId="839669071" sldId="298"/>
            <ac:spMk id="5" creationId="{6C6F6FEE-42DA-32A4-A254-7E60E467B1E8}"/>
          </ac:spMkLst>
        </pc:spChg>
        <pc:spChg chg="add mod">
          <ac:chgData name="Joost Backer" userId="8c29b5bb-e4d6-42ee-892f-a84a7aaf169e" providerId="ADAL" clId="{EC751201-8D7D-43D3-A9A1-BAC45A753168}" dt="2023-01-26T11:54:47.350" v="866"/>
          <ac:spMkLst>
            <pc:docMk/>
            <pc:sldMk cId="839669071" sldId="298"/>
            <ac:spMk id="7" creationId="{FD3BC102-A1AE-29F4-EB44-5C5F9CAE1F35}"/>
          </ac:spMkLst>
        </pc:spChg>
        <pc:graphicFrameChg chg="add mod ord modVis replST">
          <ac:chgData name="Joost Backer" userId="8c29b5bb-e4d6-42ee-892f-a84a7aaf169e" providerId="ADAL" clId="{EC751201-8D7D-43D3-A9A1-BAC45A753168}" dt="2023-01-26T11:54:47.603" v="870"/>
          <ac:graphicFrameMkLst>
            <pc:docMk/>
            <pc:sldMk cId="839669071" sldId="298"/>
            <ac:graphicFrameMk id="6" creationId="{5A1DBFD6-4E13-65EF-B51D-9DFF0952DEF2}"/>
          </ac:graphicFrameMkLst>
        </pc:graphicFrameChg>
      </pc:sldChg>
      <pc:sldMasterChg chg="addSp delSp modSp mod">
        <pc:chgData name="Joost Backer" userId="8c29b5bb-e4d6-42ee-892f-a84a7aaf169e" providerId="ADAL" clId="{EC751201-8D7D-43D3-A9A1-BAC45A753168}" dt="2023-01-26T11:52:58.543" v="656"/>
        <pc:sldMasterMkLst>
          <pc:docMk/>
          <pc:sldMasterMk cId="1796911611" sldId="2147483672"/>
        </pc:sldMasterMkLst>
        <pc:spChg chg="mod">
          <ac:chgData name="Joost Backer" userId="8c29b5bb-e4d6-42ee-892f-a84a7aaf169e" providerId="ADAL" clId="{EC751201-8D7D-43D3-A9A1-BAC45A753168}" dt="2023-01-26T11:52:58.446" v="491" actId="948"/>
          <ac:spMkLst>
            <pc:docMk/>
            <pc:sldMasterMk cId="1796911611" sldId="2147483672"/>
            <ac:spMk id="2" creationId="{00000000-0000-0000-0000-000000000000}"/>
          </ac:spMkLst>
        </pc:spChg>
        <pc:spChg chg="add del mod modVis">
          <ac:chgData name="Joost Backer" userId="8c29b5bb-e4d6-42ee-892f-a84a7aaf169e" providerId="ADAL" clId="{EC751201-8D7D-43D3-A9A1-BAC45A753168}" dt="2023-01-26T11:52:58.532" v="654"/>
          <ac:spMkLst>
            <pc:docMk/>
            <pc:sldMasterMk cId="1796911611" sldId="2147483672"/>
            <ac:spMk id="11" creationId="{063EE006-FCB8-6251-9E09-7D3FA628FF96}"/>
          </ac:spMkLst>
        </pc:spChg>
        <pc:graphicFrameChg chg="mod">
          <ac:chgData name="Joost Backer" userId="8c29b5bb-e4d6-42ee-892f-a84a7aaf169e" providerId="ADAL" clId="{EC751201-8D7D-43D3-A9A1-BAC45A753168}" dt="2023-01-26T11:52:58.543" v="656"/>
          <ac:graphicFrameMkLst>
            <pc:docMk/>
            <pc:sldMasterMk cId="1796911611" sldId="2147483672"/>
            <ac:graphicFrameMk id="7" creationId="{C9B5D14C-3AD8-4D23-9A1A-22BA98029759}"/>
          </ac:graphicFrameMkLst>
        </pc:graphicFrame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BC2EF3-E620-4812-9A81-522399251D6C}" type="datetimeFigureOut">
              <a:rPr lang="en-GB" smtClean="0"/>
              <a:t>03/03/2023</a:t>
            </a:fld>
            <a:endParaRPr lang="en-GB"/>
          </a:p>
        </p:txBody>
      </p:sp>
      <p:sp>
        <p:nvSpPr>
          <p:cNvPr id="4" name="Slide Image Placeholder 3"/>
          <p:cNvSpPr>
            <a:spLocks noGrp="1" noRot="1" noChangeAspect="1"/>
          </p:cNvSpPr>
          <p:nvPr>
            <p:ph type="sldImg" idx="2"/>
          </p:nvPr>
        </p:nvSpPr>
        <p:spPr>
          <a:xfrm>
            <a:off x="722313" y="1143000"/>
            <a:ext cx="541337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A0760F-1A71-4644-AE80-71106F1584A0}" type="slidenum">
              <a:rPr lang="en-GB" smtClean="0"/>
              <a:t>‹#›</a:t>
            </a:fld>
            <a:endParaRPr lang="en-GB"/>
          </a:p>
        </p:txBody>
      </p:sp>
    </p:spTree>
    <p:extLst>
      <p:ext uri="{BB962C8B-B14F-4D97-AF65-F5344CB8AC3E}">
        <p14:creationId xmlns:p14="http://schemas.microsoft.com/office/powerpoint/2010/main" val="2672757503"/>
      </p:ext>
    </p:extLst>
  </p:cSld>
  <p:clrMap bg1="lt1" tx1="dk1" bg2="lt2" tx2="dk2" accent1="accent1" accent2="accent2" accent3="accent3" accent4="accent4" accent5="accent5" accent6="accent6" hlink="hlink" folHlink="folHlink"/>
  <p:notesStyle>
    <a:lvl1pPr marL="0" algn="l" defTabSz="1356348" rtl="0" eaLnBrk="1" latinLnBrk="0" hangingPunct="1">
      <a:defRPr sz="1780" kern="1200">
        <a:solidFill>
          <a:schemeClr val="tx1"/>
        </a:solidFill>
        <a:latin typeface="+mn-lt"/>
        <a:ea typeface="+mn-ea"/>
        <a:cs typeface="+mn-cs"/>
      </a:defRPr>
    </a:lvl1pPr>
    <a:lvl2pPr marL="678175" algn="l" defTabSz="1356348" rtl="0" eaLnBrk="1" latinLnBrk="0" hangingPunct="1">
      <a:defRPr sz="1780" kern="1200">
        <a:solidFill>
          <a:schemeClr val="tx1"/>
        </a:solidFill>
        <a:latin typeface="+mn-lt"/>
        <a:ea typeface="+mn-ea"/>
        <a:cs typeface="+mn-cs"/>
      </a:defRPr>
    </a:lvl2pPr>
    <a:lvl3pPr marL="1356348" algn="l" defTabSz="1356348" rtl="0" eaLnBrk="1" latinLnBrk="0" hangingPunct="1">
      <a:defRPr sz="1780" kern="1200">
        <a:solidFill>
          <a:schemeClr val="tx1"/>
        </a:solidFill>
        <a:latin typeface="+mn-lt"/>
        <a:ea typeface="+mn-ea"/>
        <a:cs typeface="+mn-cs"/>
      </a:defRPr>
    </a:lvl3pPr>
    <a:lvl4pPr marL="2034522" algn="l" defTabSz="1356348" rtl="0" eaLnBrk="1" latinLnBrk="0" hangingPunct="1">
      <a:defRPr sz="1780" kern="1200">
        <a:solidFill>
          <a:schemeClr val="tx1"/>
        </a:solidFill>
        <a:latin typeface="+mn-lt"/>
        <a:ea typeface="+mn-ea"/>
        <a:cs typeface="+mn-cs"/>
      </a:defRPr>
    </a:lvl4pPr>
    <a:lvl5pPr marL="2712697" algn="l" defTabSz="1356348" rtl="0" eaLnBrk="1" latinLnBrk="0" hangingPunct="1">
      <a:defRPr sz="1780" kern="1200">
        <a:solidFill>
          <a:schemeClr val="tx1"/>
        </a:solidFill>
        <a:latin typeface="+mn-lt"/>
        <a:ea typeface="+mn-ea"/>
        <a:cs typeface="+mn-cs"/>
      </a:defRPr>
    </a:lvl5pPr>
    <a:lvl6pPr marL="3390870" algn="l" defTabSz="1356348" rtl="0" eaLnBrk="1" latinLnBrk="0" hangingPunct="1">
      <a:defRPr sz="1780" kern="1200">
        <a:solidFill>
          <a:schemeClr val="tx1"/>
        </a:solidFill>
        <a:latin typeface="+mn-lt"/>
        <a:ea typeface="+mn-ea"/>
        <a:cs typeface="+mn-cs"/>
      </a:defRPr>
    </a:lvl6pPr>
    <a:lvl7pPr marL="4069045" algn="l" defTabSz="1356348" rtl="0" eaLnBrk="1" latinLnBrk="0" hangingPunct="1">
      <a:defRPr sz="1780" kern="1200">
        <a:solidFill>
          <a:schemeClr val="tx1"/>
        </a:solidFill>
        <a:latin typeface="+mn-lt"/>
        <a:ea typeface="+mn-ea"/>
        <a:cs typeface="+mn-cs"/>
      </a:defRPr>
    </a:lvl7pPr>
    <a:lvl8pPr marL="4747218" algn="l" defTabSz="1356348" rtl="0" eaLnBrk="1" latinLnBrk="0" hangingPunct="1">
      <a:defRPr sz="1780" kern="1200">
        <a:solidFill>
          <a:schemeClr val="tx1"/>
        </a:solidFill>
        <a:latin typeface="+mn-lt"/>
        <a:ea typeface="+mn-ea"/>
        <a:cs typeface="+mn-cs"/>
      </a:defRPr>
    </a:lvl8pPr>
    <a:lvl9pPr marL="5425394" algn="l" defTabSz="1356348" rtl="0" eaLnBrk="1" latinLnBrk="0" hangingPunct="1">
      <a:defRPr sz="178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50083" y="1679128"/>
            <a:ext cx="13500497" cy="3572005"/>
          </a:xfrm>
        </p:spPr>
        <p:txBody>
          <a:bodyPr anchor="b"/>
          <a:lstStyle>
            <a:lvl1pPr algn="ctr">
              <a:defRPr sz="8858"/>
            </a:lvl1pPr>
          </a:lstStyle>
          <a:p>
            <a:r>
              <a:rPr lang="en-US"/>
              <a:t>Click to edit Master title style</a:t>
            </a:r>
          </a:p>
        </p:txBody>
      </p:sp>
      <p:sp>
        <p:nvSpPr>
          <p:cNvPr id="3" name="Subtitle 2"/>
          <p:cNvSpPr>
            <a:spLocks noGrp="1"/>
          </p:cNvSpPr>
          <p:nvPr>
            <p:ph type="subTitle" idx="1"/>
          </p:nvPr>
        </p:nvSpPr>
        <p:spPr>
          <a:xfrm>
            <a:off x="2250083" y="5388883"/>
            <a:ext cx="13500497" cy="2477127"/>
          </a:xfrm>
        </p:spPr>
        <p:txBody>
          <a:bodyPr/>
          <a:lstStyle>
            <a:lvl1pPr marL="0" indent="0" algn="ctr">
              <a:buNone/>
              <a:defRPr sz="3543"/>
            </a:lvl1pPr>
            <a:lvl2pPr marL="675010" indent="0" algn="ctr">
              <a:buNone/>
              <a:defRPr sz="2953"/>
            </a:lvl2pPr>
            <a:lvl3pPr marL="1350020" indent="0" algn="ctr">
              <a:buNone/>
              <a:defRPr sz="2658"/>
            </a:lvl3pPr>
            <a:lvl4pPr marL="2025030" indent="0" algn="ctr">
              <a:buNone/>
              <a:defRPr sz="2362"/>
            </a:lvl4pPr>
            <a:lvl5pPr marL="2700040" indent="0" algn="ctr">
              <a:buNone/>
              <a:defRPr sz="2362"/>
            </a:lvl5pPr>
            <a:lvl6pPr marL="3375050" indent="0" algn="ctr">
              <a:buNone/>
              <a:defRPr sz="2362"/>
            </a:lvl6pPr>
            <a:lvl7pPr marL="4050060" indent="0" algn="ctr">
              <a:buNone/>
              <a:defRPr sz="2362"/>
            </a:lvl7pPr>
            <a:lvl8pPr marL="4725071" indent="0" algn="ctr">
              <a:buNone/>
              <a:defRPr sz="2362"/>
            </a:lvl8pPr>
            <a:lvl9pPr marL="5400081" indent="0" algn="ctr">
              <a:buNone/>
              <a:defRPr sz="2362"/>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3/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9550426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5014151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2881724" y="546251"/>
            <a:ext cx="3881393" cy="86948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37545" y="546251"/>
            <a:ext cx="11419171" cy="86948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64990155"/>
      </p:ext>
    </p:extLst>
  </p:cSld>
  <p:clrMapOvr>
    <a:masterClrMapping/>
  </p:clrMapOvr>
  <p:extLst>
    <p:ext uri="{DCECCB84-F9BA-43D5-87BE-67443E8EF086}">
      <p15:sldGuideLst xmlns:p15="http://schemas.microsoft.com/office/powerpoint/2012/main">
        <p15:guide id="1" orient="horz" pos="3231" userDrawn="1">
          <p15:clr>
            <a:srgbClr val="FBAE40"/>
          </p15:clr>
        </p15:guide>
        <p15:guide id="2" pos="566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48621F-FD2A-9F44-94B1-E6AD741BD364}"/>
              </a:ext>
            </a:extLst>
          </p:cNvPr>
          <p:cNvPicPr>
            <a:picLocks noChangeAspect="1"/>
          </p:cNvPicPr>
          <p:nvPr userDrawn="1"/>
        </p:nvPicPr>
        <p:blipFill rotWithShape="1">
          <a:blip r:embed="rId2"/>
          <a:srcRect t="17641" r="1268" b="4290"/>
          <a:stretch/>
        </p:blipFill>
        <p:spPr>
          <a:xfrm>
            <a:off x="0" y="1734781"/>
            <a:ext cx="18000663" cy="6262034"/>
          </a:xfrm>
          <a:prstGeom prst="rect">
            <a:avLst/>
          </a:prstGeom>
        </p:spPr>
      </p:pic>
      <p:pic>
        <p:nvPicPr>
          <p:cNvPr id="8" name="Picture 7" descr="Logo&#10;&#10;Description automatically generated">
            <a:extLst>
              <a:ext uri="{FF2B5EF4-FFF2-40B4-BE49-F238E27FC236}">
                <a16:creationId xmlns:a16="http://schemas.microsoft.com/office/drawing/2014/main" id="{91B3083A-D98E-0346-9504-5052D2BEE8E8}"/>
              </a:ext>
            </a:extLst>
          </p:cNvPr>
          <p:cNvPicPr>
            <a:picLocks noChangeAspect="1"/>
          </p:cNvPicPr>
          <p:nvPr userDrawn="1"/>
        </p:nvPicPr>
        <p:blipFill rotWithShape="1">
          <a:blip r:embed="rId3"/>
          <a:srcRect r="42473"/>
          <a:stretch/>
        </p:blipFill>
        <p:spPr>
          <a:xfrm>
            <a:off x="6037692" y="8090001"/>
            <a:ext cx="2212367" cy="1868067"/>
          </a:xfrm>
          <a:prstGeom prst="rect">
            <a:avLst/>
          </a:prstGeom>
        </p:spPr>
      </p:pic>
      <p:pic>
        <p:nvPicPr>
          <p:cNvPr id="9" name="Picture 2" descr="Joint letter to the Dutch government ahead of the EU Dutch ...">
            <a:extLst>
              <a:ext uri="{FF2B5EF4-FFF2-40B4-BE49-F238E27FC236}">
                <a16:creationId xmlns:a16="http://schemas.microsoft.com/office/drawing/2014/main" id="{6D5A91FE-CA2C-3C44-A452-0798C2E3980D}"/>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b="17387"/>
          <a:stretch/>
        </p:blipFill>
        <p:spPr bwMode="auto">
          <a:xfrm>
            <a:off x="8343701" y="-15371"/>
            <a:ext cx="4167083" cy="16569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Icon&#10;&#10;Description automatically generated">
            <a:extLst>
              <a:ext uri="{FF2B5EF4-FFF2-40B4-BE49-F238E27FC236}">
                <a16:creationId xmlns:a16="http://schemas.microsoft.com/office/drawing/2014/main" id="{BFEDA028-F4E7-424B-9509-D1D0FD6AA573}"/>
              </a:ext>
            </a:extLst>
          </p:cNvPr>
          <p:cNvPicPr>
            <a:picLocks noChangeAspect="1"/>
          </p:cNvPicPr>
          <p:nvPr userDrawn="1"/>
        </p:nvPicPr>
        <p:blipFill>
          <a:blip r:embed="rId5"/>
          <a:stretch>
            <a:fillRect/>
          </a:stretch>
        </p:blipFill>
        <p:spPr>
          <a:xfrm>
            <a:off x="8127500" y="8089997"/>
            <a:ext cx="1790664" cy="1868069"/>
          </a:xfrm>
          <a:prstGeom prst="rect">
            <a:avLst/>
          </a:prstGeom>
        </p:spPr>
      </p:pic>
      <p:sp>
        <p:nvSpPr>
          <p:cNvPr id="11" name="Text Placeholder 2">
            <a:extLst>
              <a:ext uri="{FF2B5EF4-FFF2-40B4-BE49-F238E27FC236}">
                <a16:creationId xmlns:a16="http://schemas.microsoft.com/office/drawing/2014/main" id="{DE6EF542-6A6B-C944-BD24-0DA3B018A6BE}"/>
              </a:ext>
            </a:extLst>
          </p:cNvPr>
          <p:cNvSpPr>
            <a:spLocks noGrp="1"/>
          </p:cNvSpPr>
          <p:nvPr>
            <p:ph type="body" sz="quarter" idx="10"/>
          </p:nvPr>
        </p:nvSpPr>
        <p:spPr>
          <a:xfrm>
            <a:off x="761745" y="3799423"/>
            <a:ext cx="12609296" cy="2132753"/>
          </a:xfrm>
          <a:prstGeom prst="rect">
            <a:avLst/>
          </a:prstGeom>
        </p:spPr>
        <p:txBody>
          <a:bodyPr>
            <a:noAutofit/>
          </a:bodyPr>
          <a:lstStyle>
            <a:lvl1pPr marL="0" indent="0">
              <a:buNone/>
              <a:defRPr sz="10630">
                <a:solidFill>
                  <a:schemeClr val="bg1"/>
                </a:solidFill>
                <a:latin typeface="+mj-lt"/>
              </a:defRPr>
            </a:lvl1pPr>
            <a:lvl2pPr marL="675010" indent="0">
              <a:buNone/>
              <a:defRPr sz="8858">
                <a:solidFill>
                  <a:schemeClr val="bg1"/>
                </a:solidFill>
                <a:latin typeface="+mj-lt"/>
              </a:defRPr>
            </a:lvl2pPr>
            <a:lvl3pPr marL="1350020" indent="0">
              <a:buNone/>
              <a:defRPr sz="8858">
                <a:solidFill>
                  <a:schemeClr val="bg1"/>
                </a:solidFill>
                <a:latin typeface="+mj-lt"/>
              </a:defRPr>
            </a:lvl3pPr>
            <a:lvl4pPr marL="2025030" indent="0">
              <a:buNone/>
              <a:defRPr sz="8858">
                <a:solidFill>
                  <a:schemeClr val="bg1"/>
                </a:solidFill>
                <a:latin typeface="+mj-lt"/>
              </a:defRPr>
            </a:lvl4pPr>
            <a:lvl5pPr marL="2700040" indent="0">
              <a:buNone/>
              <a:defRPr sz="8858">
                <a:solidFill>
                  <a:schemeClr val="bg1"/>
                </a:solidFill>
                <a:latin typeface="+mj-lt"/>
              </a:defRPr>
            </a:lvl5pPr>
          </a:lstStyle>
          <a:p>
            <a:pPr lvl="0"/>
            <a:r>
              <a:rPr lang="en-GB"/>
              <a:t>Click to edit Master text styles</a:t>
            </a:r>
            <a:endParaRPr lang="en-US"/>
          </a:p>
        </p:txBody>
      </p:sp>
    </p:spTree>
    <p:extLst>
      <p:ext uri="{BB962C8B-B14F-4D97-AF65-F5344CB8AC3E}">
        <p14:creationId xmlns:p14="http://schemas.microsoft.com/office/powerpoint/2010/main" val="42840784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29E2BBF-665C-1B48-A206-EA46E7EBA33A}"/>
              </a:ext>
            </a:extLst>
          </p:cNvPr>
          <p:cNvSpPr>
            <a:spLocks noGrp="1"/>
          </p:cNvSpPr>
          <p:nvPr>
            <p:ph sz="half" idx="1"/>
          </p:nvPr>
        </p:nvSpPr>
        <p:spPr>
          <a:xfrm>
            <a:off x="1237545" y="2731253"/>
            <a:ext cx="7650282" cy="6509884"/>
          </a:xfrm>
          <a:prstGeom prst="rect">
            <a:avLst/>
          </a:prstGeom>
        </p:spPr>
        <p:txBody>
          <a:bodyPr/>
          <a:lstStyle>
            <a:lvl1pPr marL="337505" indent="-337505">
              <a:buClr>
                <a:schemeClr val="accent1"/>
              </a:buClr>
              <a:buFont typeface="System Font Regular"/>
              <a:buChar char="•"/>
              <a:defRPr/>
            </a:lvl1pPr>
            <a:lvl2pPr marL="1012515" indent="-337505">
              <a:buClr>
                <a:schemeClr val="accent1"/>
              </a:buClr>
              <a:buFont typeface="System Font Regular"/>
              <a:buChar char="•"/>
              <a:defRPr/>
            </a:lvl2pPr>
            <a:lvl3pPr marL="1687525" indent="-337505">
              <a:buClr>
                <a:schemeClr val="accent1"/>
              </a:buClr>
              <a:buFont typeface="System Font Regular"/>
              <a:buChar char="•"/>
              <a:defRPr/>
            </a:lvl3pPr>
            <a:lvl4pPr marL="2362535" indent="-337505">
              <a:buClr>
                <a:schemeClr val="accent1"/>
              </a:buClr>
              <a:buFont typeface="System Font Regular"/>
              <a:buChar char="•"/>
              <a:defRPr/>
            </a:lvl4pPr>
            <a:lvl5pPr marL="3037545" indent="-337505">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8C5AF1E-1FF4-2C45-81EA-C4FEE3B68CC0}"/>
              </a:ext>
            </a:extLst>
          </p:cNvPr>
          <p:cNvSpPr>
            <a:spLocks noGrp="1"/>
          </p:cNvSpPr>
          <p:nvPr>
            <p:ph sz="half" idx="2"/>
          </p:nvPr>
        </p:nvSpPr>
        <p:spPr>
          <a:xfrm>
            <a:off x="9112836" y="2731253"/>
            <a:ext cx="7650282" cy="6509884"/>
          </a:xfrm>
          <a:prstGeom prst="rect">
            <a:avLst/>
          </a:prstGeom>
        </p:spPr>
        <p:txBody>
          <a:bodyPr/>
          <a:lstStyle>
            <a:lvl1pPr marL="337505" indent="-337505">
              <a:buClr>
                <a:schemeClr val="accent1"/>
              </a:buClr>
              <a:buFont typeface="System Font Regular"/>
              <a:buChar char="•"/>
              <a:defRPr/>
            </a:lvl1pPr>
            <a:lvl2pPr marL="1012515" indent="-337505">
              <a:buClr>
                <a:schemeClr val="accent1"/>
              </a:buClr>
              <a:buFont typeface="System Font Regular"/>
              <a:buChar char="•"/>
              <a:defRPr/>
            </a:lvl2pPr>
            <a:lvl3pPr marL="1687525" indent="-337505">
              <a:buClr>
                <a:schemeClr val="accent1"/>
              </a:buClr>
              <a:buFont typeface="System Font Regular"/>
              <a:buChar char="•"/>
              <a:defRPr/>
            </a:lvl3pPr>
            <a:lvl4pPr marL="2362535" indent="-337505">
              <a:buClr>
                <a:schemeClr val="accent1"/>
              </a:buClr>
              <a:buFont typeface="System Font Regular"/>
              <a:buChar char="•"/>
              <a:defRPr/>
            </a:lvl4pPr>
            <a:lvl5pPr marL="3037545" indent="-337505">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itle 1">
            <a:extLst>
              <a:ext uri="{FF2B5EF4-FFF2-40B4-BE49-F238E27FC236}">
                <a16:creationId xmlns:a16="http://schemas.microsoft.com/office/drawing/2014/main" id="{2F83A5E9-8A6B-C34B-82B1-60CBEFEAD454}"/>
              </a:ext>
            </a:extLst>
          </p:cNvPr>
          <p:cNvSpPr>
            <a:spLocks noGrp="1"/>
          </p:cNvSpPr>
          <p:nvPr>
            <p:ph type="title" hasCustomPrompt="1"/>
          </p:nvPr>
        </p:nvSpPr>
        <p:spPr>
          <a:xfrm>
            <a:off x="1237546" y="546253"/>
            <a:ext cx="15525572" cy="1983128"/>
          </a:xfrm>
          <a:prstGeom prst="rect">
            <a:avLst/>
          </a:prstGeom>
        </p:spPr>
        <p:txBody>
          <a:bodyPr anchor="t" anchorCtr="0">
            <a:normAutofit/>
          </a:bodyPr>
          <a:lstStyle>
            <a:lvl1pPr>
              <a:defRPr sz="5315">
                <a:solidFill>
                  <a:schemeClr val="accent1"/>
                </a:solidFill>
              </a:defRPr>
            </a:lvl1pPr>
          </a:lstStyle>
          <a:p>
            <a:r>
              <a:rPr lang="en-GB"/>
              <a:t>CLICK TO EDIT MASTER TITLE STYLE</a:t>
            </a:r>
            <a:endParaRPr lang="en-US"/>
          </a:p>
        </p:txBody>
      </p:sp>
      <p:sp>
        <p:nvSpPr>
          <p:cNvPr id="9" name="Rectangle 8">
            <a:extLst>
              <a:ext uri="{FF2B5EF4-FFF2-40B4-BE49-F238E27FC236}">
                <a16:creationId xmlns:a16="http://schemas.microsoft.com/office/drawing/2014/main" id="{CA6663DA-4CED-D443-9798-E856FDD200FF}"/>
              </a:ext>
            </a:extLst>
          </p:cNvPr>
          <p:cNvSpPr/>
          <p:nvPr userDrawn="1"/>
        </p:nvSpPr>
        <p:spPr>
          <a:xfrm>
            <a:off x="681109" y="1241336"/>
            <a:ext cx="77448" cy="9018679"/>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42"/>
          </a:p>
        </p:txBody>
      </p:sp>
    </p:spTree>
    <p:extLst>
      <p:ext uri="{BB962C8B-B14F-4D97-AF65-F5344CB8AC3E}">
        <p14:creationId xmlns:p14="http://schemas.microsoft.com/office/powerpoint/2010/main" val="1358071660"/>
      </p:ext>
    </p:extLst>
  </p:cSld>
  <p:clrMapOvr>
    <a:masterClrMapping/>
  </p:clrMapOvr>
  <p:extLst>
    <p:ext uri="{DCECCB84-F9BA-43D5-87BE-67443E8EF086}">
      <p15:sldGuideLst xmlns:p15="http://schemas.microsoft.com/office/powerpoint/2012/main">
        <p15:guide id="1" orient="horz" pos="3231" userDrawn="1">
          <p15:clr>
            <a:srgbClr val="FBAE40"/>
          </p15:clr>
        </p15:guide>
        <p15:guide id="2" pos="566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5503163-1DB0-0E46-99A9-A633FEBEF585}"/>
              </a:ext>
            </a:extLst>
          </p:cNvPr>
          <p:cNvSpPr>
            <a:spLocks noGrp="1"/>
          </p:cNvSpPr>
          <p:nvPr>
            <p:ph type="body" idx="1"/>
          </p:nvPr>
        </p:nvSpPr>
        <p:spPr>
          <a:xfrm>
            <a:off x="1239893" y="2515129"/>
            <a:ext cx="7615123" cy="1232626"/>
          </a:xfrm>
          <a:prstGeom prst="rect">
            <a:avLst/>
          </a:prstGeom>
        </p:spPr>
        <p:txBody>
          <a:bodyPr anchor="b"/>
          <a:lstStyle>
            <a:lvl1pPr marL="0" indent="0">
              <a:buNone/>
              <a:defRPr sz="3543" b="1" i="0">
                <a:latin typeface="Segoe UI Semibold" panose="020B0502040204020203" pitchFamily="34" charset="0"/>
                <a:cs typeface="Segoe UI Semibold" panose="020B0502040204020203" pitchFamily="34" charset="0"/>
              </a:defRPr>
            </a:lvl1pPr>
            <a:lvl2pPr marL="675010" indent="0">
              <a:buNone/>
              <a:defRPr sz="2953" b="1"/>
            </a:lvl2pPr>
            <a:lvl3pPr marL="1350020" indent="0">
              <a:buNone/>
              <a:defRPr sz="2658" b="1"/>
            </a:lvl3pPr>
            <a:lvl4pPr marL="2025030" indent="0">
              <a:buNone/>
              <a:defRPr sz="2362" b="1"/>
            </a:lvl4pPr>
            <a:lvl5pPr marL="2700040" indent="0">
              <a:buNone/>
              <a:defRPr sz="2362" b="1"/>
            </a:lvl5pPr>
            <a:lvl6pPr marL="3375050" indent="0">
              <a:buNone/>
              <a:defRPr sz="2362" b="1"/>
            </a:lvl6pPr>
            <a:lvl7pPr marL="4050060" indent="0">
              <a:buNone/>
              <a:defRPr sz="2362" b="1"/>
            </a:lvl7pPr>
            <a:lvl8pPr marL="4725071" indent="0">
              <a:buNone/>
              <a:defRPr sz="2362" b="1"/>
            </a:lvl8pPr>
            <a:lvl9pPr marL="5400081" indent="0">
              <a:buNone/>
              <a:defRPr sz="2362" b="1"/>
            </a:lvl9pPr>
          </a:lstStyle>
          <a:p>
            <a:pPr lvl="0"/>
            <a:r>
              <a:rPr lang="en-GB"/>
              <a:t>Click to edit Master text styles</a:t>
            </a:r>
          </a:p>
        </p:txBody>
      </p:sp>
      <p:sp>
        <p:nvSpPr>
          <p:cNvPr id="4" name="Content Placeholder 3">
            <a:extLst>
              <a:ext uri="{FF2B5EF4-FFF2-40B4-BE49-F238E27FC236}">
                <a16:creationId xmlns:a16="http://schemas.microsoft.com/office/drawing/2014/main" id="{8D3D0900-DF06-2241-B038-56C32288EB3F}"/>
              </a:ext>
            </a:extLst>
          </p:cNvPr>
          <p:cNvSpPr>
            <a:spLocks noGrp="1"/>
          </p:cNvSpPr>
          <p:nvPr>
            <p:ph sz="half" idx="2"/>
          </p:nvPr>
        </p:nvSpPr>
        <p:spPr>
          <a:xfrm>
            <a:off x="1239893" y="3747756"/>
            <a:ext cx="7615123" cy="5512383"/>
          </a:xfrm>
          <a:prstGeom prst="rect">
            <a:avLst/>
          </a:prstGeom>
        </p:spPr>
        <p:txBody>
          <a:bodyPr/>
          <a:lstStyle>
            <a:lvl1pPr marL="337505" indent="-337505">
              <a:buClr>
                <a:schemeClr val="accent1"/>
              </a:buClr>
              <a:buFont typeface="System Font Regular"/>
              <a:buChar char="•"/>
              <a:defRPr/>
            </a:lvl1pPr>
            <a:lvl2pPr marL="1012515" indent="-337505">
              <a:buClr>
                <a:schemeClr val="accent1"/>
              </a:buClr>
              <a:buFont typeface="System Font Regular"/>
              <a:buChar char="•"/>
              <a:defRPr/>
            </a:lvl2pPr>
            <a:lvl3pPr marL="1687525" indent="-337505">
              <a:buClr>
                <a:schemeClr val="accent1"/>
              </a:buClr>
              <a:buFont typeface="System Font Regular"/>
              <a:buChar char="•"/>
              <a:defRPr/>
            </a:lvl3pPr>
            <a:lvl4pPr marL="2362535" indent="-337505">
              <a:buClr>
                <a:schemeClr val="accent1"/>
              </a:buClr>
              <a:buFont typeface="System Font Regular"/>
              <a:buChar char="•"/>
              <a:defRPr/>
            </a:lvl4pPr>
            <a:lvl5pPr marL="3037545" indent="-337505">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8DFAD4A4-847D-C94F-BE9A-21B527586D81}"/>
              </a:ext>
            </a:extLst>
          </p:cNvPr>
          <p:cNvSpPr>
            <a:spLocks noGrp="1"/>
          </p:cNvSpPr>
          <p:nvPr>
            <p:ph type="body" sz="quarter" idx="3"/>
          </p:nvPr>
        </p:nvSpPr>
        <p:spPr>
          <a:xfrm>
            <a:off x="9112836" y="2515129"/>
            <a:ext cx="7652626" cy="1232626"/>
          </a:xfrm>
          <a:prstGeom prst="rect">
            <a:avLst/>
          </a:prstGeom>
        </p:spPr>
        <p:txBody>
          <a:bodyPr anchor="b"/>
          <a:lstStyle>
            <a:lvl1pPr marL="0" indent="0">
              <a:buNone/>
              <a:defRPr sz="3543" b="1" i="0">
                <a:latin typeface="Segoe UI Semibold" panose="020B0502040204020203" pitchFamily="34" charset="0"/>
                <a:cs typeface="Segoe UI Semibold" panose="020B0502040204020203" pitchFamily="34" charset="0"/>
              </a:defRPr>
            </a:lvl1pPr>
            <a:lvl2pPr marL="675010" indent="0">
              <a:buNone/>
              <a:defRPr sz="2953" b="1"/>
            </a:lvl2pPr>
            <a:lvl3pPr marL="1350020" indent="0">
              <a:buNone/>
              <a:defRPr sz="2658" b="1"/>
            </a:lvl3pPr>
            <a:lvl4pPr marL="2025030" indent="0">
              <a:buNone/>
              <a:defRPr sz="2362" b="1"/>
            </a:lvl4pPr>
            <a:lvl5pPr marL="2700040" indent="0">
              <a:buNone/>
              <a:defRPr sz="2362" b="1"/>
            </a:lvl5pPr>
            <a:lvl6pPr marL="3375050" indent="0">
              <a:buNone/>
              <a:defRPr sz="2362" b="1"/>
            </a:lvl6pPr>
            <a:lvl7pPr marL="4050060" indent="0">
              <a:buNone/>
              <a:defRPr sz="2362" b="1"/>
            </a:lvl7pPr>
            <a:lvl8pPr marL="4725071" indent="0">
              <a:buNone/>
              <a:defRPr sz="2362" b="1"/>
            </a:lvl8pPr>
            <a:lvl9pPr marL="5400081" indent="0">
              <a:buNone/>
              <a:defRPr sz="2362" b="1"/>
            </a:lvl9pPr>
          </a:lstStyle>
          <a:p>
            <a:pPr lvl="0"/>
            <a:r>
              <a:rPr lang="en-GB"/>
              <a:t>Click to edit Master text styles</a:t>
            </a:r>
          </a:p>
        </p:txBody>
      </p:sp>
      <p:sp>
        <p:nvSpPr>
          <p:cNvPr id="6" name="Content Placeholder 5">
            <a:extLst>
              <a:ext uri="{FF2B5EF4-FFF2-40B4-BE49-F238E27FC236}">
                <a16:creationId xmlns:a16="http://schemas.microsoft.com/office/drawing/2014/main" id="{D8F6F743-AE8B-7545-A50F-350B8405D011}"/>
              </a:ext>
            </a:extLst>
          </p:cNvPr>
          <p:cNvSpPr>
            <a:spLocks noGrp="1"/>
          </p:cNvSpPr>
          <p:nvPr>
            <p:ph sz="quarter" idx="4"/>
          </p:nvPr>
        </p:nvSpPr>
        <p:spPr>
          <a:xfrm>
            <a:off x="9112836" y="3747756"/>
            <a:ext cx="7652626" cy="5512383"/>
          </a:xfrm>
          <a:prstGeom prst="rect">
            <a:avLst/>
          </a:prstGeom>
        </p:spPr>
        <p:txBody>
          <a:bodyPr/>
          <a:lstStyle>
            <a:lvl1pPr marL="337505" indent="-337505">
              <a:buClr>
                <a:schemeClr val="accent1"/>
              </a:buClr>
              <a:buFont typeface="System Font Regular"/>
              <a:buChar char="•"/>
              <a:defRPr/>
            </a:lvl1pPr>
            <a:lvl2pPr marL="1012515" indent="-337505">
              <a:buClr>
                <a:schemeClr val="accent1"/>
              </a:buClr>
              <a:buFont typeface="System Font Regular"/>
              <a:buChar char="•"/>
              <a:defRPr/>
            </a:lvl2pPr>
            <a:lvl3pPr marL="1687525" indent="-337505">
              <a:buClr>
                <a:schemeClr val="accent1"/>
              </a:buClr>
              <a:buFont typeface="System Font Regular"/>
              <a:buChar char="•"/>
              <a:defRPr/>
            </a:lvl3pPr>
            <a:lvl4pPr marL="2362535" indent="-337505">
              <a:buClr>
                <a:schemeClr val="accent1"/>
              </a:buClr>
              <a:buFont typeface="System Font Regular"/>
              <a:buChar char="•"/>
              <a:defRPr/>
            </a:lvl4pPr>
            <a:lvl5pPr marL="3037545" indent="-337505">
              <a:buClr>
                <a:schemeClr val="accent1"/>
              </a:buClr>
              <a:buFont typeface="System Font Regular"/>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itle 1">
            <a:extLst>
              <a:ext uri="{FF2B5EF4-FFF2-40B4-BE49-F238E27FC236}">
                <a16:creationId xmlns:a16="http://schemas.microsoft.com/office/drawing/2014/main" id="{21F524E1-0C5D-9340-8C8A-A6931D3AA43B}"/>
              </a:ext>
            </a:extLst>
          </p:cNvPr>
          <p:cNvSpPr>
            <a:spLocks noGrp="1"/>
          </p:cNvSpPr>
          <p:nvPr>
            <p:ph type="title" hasCustomPrompt="1"/>
          </p:nvPr>
        </p:nvSpPr>
        <p:spPr>
          <a:xfrm>
            <a:off x="1237546" y="546253"/>
            <a:ext cx="15525572" cy="1983128"/>
          </a:xfrm>
          <a:prstGeom prst="rect">
            <a:avLst/>
          </a:prstGeom>
        </p:spPr>
        <p:txBody>
          <a:bodyPr anchor="t" anchorCtr="0">
            <a:normAutofit/>
          </a:bodyPr>
          <a:lstStyle>
            <a:lvl1pPr>
              <a:defRPr sz="5315">
                <a:solidFill>
                  <a:schemeClr val="accent1"/>
                </a:solidFill>
              </a:defRPr>
            </a:lvl1pPr>
          </a:lstStyle>
          <a:p>
            <a:r>
              <a:rPr lang="en-GB"/>
              <a:t>CLICK TO EDIT MASTER TITLE STYLE</a:t>
            </a:r>
            <a:endParaRPr lang="en-US"/>
          </a:p>
        </p:txBody>
      </p:sp>
      <p:sp>
        <p:nvSpPr>
          <p:cNvPr id="11" name="Rectangle 10">
            <a:extLst>
              <a:ext uri="{FF2B5EF4-FFF2-40B4-BE49-F238E27FC236}">
                <a16:creationId xmlns:a16="http://schemas.microsoft.com/office/drawing/2014/main" id="{345CDA96-C742-E14D-A8D4-AEA80BEFA089}"/>
              </a:ext>
            </a:extLst>
          </p:cNvPr>
          <p:cNvSpPr/>
          <p:nvPr userDrawn="1"/>
        </p:nvSpPr>
        <p:spPr>
          <a:xfrm>
            <a:off x="681109" y="1241336"/>
            <a:ext cx="77448" cy="9018679"/>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42"/>
          </a:p>
        </p:txBody>
      </p:sp>
    </p:spTree>
    <p:extLst>
      <p:ext uri="{BB962C8B-B14F-4D97-AF65-F5344CB8AC3E}">
        <p14:creationId xmlns:p14="http://schemas.microsoft.com/office/powerpoint/2010/main" val="1526106960"/>
      </p:ext>
    </p:extLst>
  </p:cSld>
  <p:clrMapOvr>
    <a:masterClrMapping/>
  </p:clrMapOvr>
  <p:extLst>
    <p:ext uri="{DCECCB84-F9BA-43D5-87BE-67443E8EF086}">
      <p15:sldGuideLst xmlns:p15="http://schemas.microsoft.com/office/powerpoint/2012/main">
        <p15:guide id="1" orient="horz" pos="3231" userDrawn="1">
          <p15:clr>
            <a:srgbClr val="FBAE40"/>
          </p15:clr>
        </p15:guide>
        <p15:guide id="2" pos="566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BCCAED3-F1BF-AB4D-9713-ABF6C7DF1EE4}"/>
              </a:ext>
            </a:extLst>
          </p:cNvPr>
          <p:cNvSpPr>
            <a:spLocks noGrp="1"/>
          </p:cNvSpPr>
          <p:nvPr>
            <p:ph type="title" hasCustomPrompt="1"/>
          </p:nvPr>
        </p:nvSpPr>
        <p:spPr>
          <a:xfrm>
            <a:off x="1237546" y="546253"/>
            <a:ext cx="15525572" cy="1983128"/>
          </a:xfrm>
          <a:prstGeom prst="rect">
            <a:avLst/>
          </a:prstGeom>
        </p:spPr>
        <p:txBody>
          <a:bodyPr anchor="t" anchorCtr="0">
            <a:normAutofit/>
          </a:bodyPr>
          <a:lstStyle>
            <a:lvl1pPr>
              <a:defRPr sz="5315">
                <a:solidFill>
                  <a:schemeClr val="accent1"/>
                </a:solidFill>
              </a:defRPr>
            </a:lvl1pPr>
          </a:lstStyle>
          <a:p>
            <a:r>
              <a:rPr lang="en-GB"/>
              <a:t>CLICK TO EDIT MASTER TITLE STYLE</a:t>
            </a:r>
            <a:endParaRPr lang="en-US"/>
          </a:p>
        </p:txBody>
      </p:sp>
      <p:sp>
        <p:nvSpPr>
          <p:cNvPr id="7" name="Rectangle 6">
            <a:extLst>
              <a:ext uri="{FF2B5EF4-FFF2-40B4-BE49-F238E27FC236}">
                <a16:creationId xmlns:a16="http://schemas.microsoft.com/office/drawing/2014/main" id="{FCDCDD09-4A06-DC42-90CC-DE82495E7D72}"/>
              </a:ext>
            </a:extLst>
          </p:cNvPr>
          <p:cNvSpPr/>
          <p:nvPr userDrawn="1"/>
        </p:nvSpPr>
        <p:spPr>
          <a:xfrm>
            <a:off x="681109" y="1241336"/>
            <a:ext cx="77448" cy="9018679"/>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42"/>
          </a:p>
        </p:txBody>
      </p:sp>
    </p:spTree>
    <p:extLst>
      <p:ext uri="{BB962C8B-B14F-4D97-AF65-F5344CB8AC3E}">
        <p14:creationId xmlns:p14="http://schemas.microsoft.com/office/powerpoint/2010/main" val="1061793170"/>
      </p:ext>
    </p:extLst>
  </p:cSld>
  <p:clrMapOvr>
    <a:masterClrMapping/>
  </p:clrMapOvr>
  <p:extLst>
    <p:ext uri="{DCECCB84-F9BA-43D5-87BE-67443E8EF086}">
      <p15:sldGuideLst xmlns:p15="http://schemas.microsoft.com/office/powerpoint/2012/main">
        <p15:guide id="1" orient="horz" pos="3231" userDrawn="1">
          <p15:clr>
            <a:srgbClr val="FBAE40"/>
          </p15:clr>
        </p15:guide>
        <p15:guide id="2" pos="566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47B0464-C501-3D4A-8919-728F41D8EB89}"/>
              </a:ext>
            </a:extLst>
          </p:cNvPr>
          <p:cNvSpPr>
            <a:spLocks noGrp="1"/>
          </p:cNvSpPr>
          <p:nvPr>
            <p:ph type="pic" idx="1"/>
          </p:nvPr>
        </p:nvSpPr>
        <p:spPr>
          <a:xfrm>
            <a:off x="7652626" y="1477254"/>
            <a:ext cx="9112836" cy="7291259"/>
          </a:xfrm>
          <a:prstGeom prst="rect">
            <a:avLst/>
          </a:prstGeom>
        </p:spPr>
        <p:txBody>
          <a:bodyPr/>
          <a:lstStyle>
            <a:lvl1pPr marL="0" indent="0">
              <a:buNone/>
              <a:defRPr sz="4724"/>
            </a:lvl1pPr>
            <a:lvl2pPr marL="675010" indent="0">
              <a:buNone/>
              <a:defRPr sz="4134"/>
            </a:lvl2pPr>
            <a:lvl3pPr marL="1350020" indent="0">
              <a:buNone/>
              <a:defRPr sz="3543"/>
            </a:lvl3pPr>
            <a:lvl4pPr marL="2025030" indent="0">
              <a:buNone/>
              <a:defRPr sz="2953"/>
            </a:lvl4pPr>
            <a:lvl5pPr marL="2700040" indent="0">
              <a:buNone/>
              <a:defRPr sz="2953"/>
            </a:lvl5pPr>
            <a:lvl6pPr marL="3375050" indent="0">
              <a:buNone/>
              <a:defRPr sz="2953"/>
            </a:lvl6pPr>
            <a:lvl7pPr marL="4050060" indent="0">
              <a:buNone/>
              <a:defRPr sz="2953"/>
            </a:lvl7pPr>
            <a:lvl8pPr marL="4725071" indent="0">
              <a:buNone/>
              <a:defRPr sz="2953"/>
            </a:lvl8pPr>
            <a:lvl9pPr marL="5400081" indent="0">
              <a:buNone/>
              <a:defRPr sz="2953"/>
            </a:lvl9pPr>
          </a:lstStyle>
          <a:p>
            <a:endParaRPr lang="en-US"/>
          </a:p>
        </p:txBody>
      </p:sp>
      <p:sp>
        <p:nvSpPr>
          <p:cNvPr id="4" name="Text Placeholder 3">
            <a:extLst>
              <a:ext uri="{FF2B5EF4-FFF2-40B4-BE49-F238E27FC236}">
                <a16:creationId xmlns:a16="http://schemas.microsoft.com/office/drawing/2014/main" id="{5914B947-FB97-C949-9489-B435627D0A46}"/>
              </a:ext>
            </a:extLst>
          </p:cNvPr>
          <p:cNvSpPr>
            <a:spLocks noGrp="1"/>
          </p:cNvSpPr>
          <p:nvPr>
            <p:ph type="body" sz="half" idx="2"/>
          </p:nvPr>
        </p:nvSpPr>
        <p:spPr>
          <a:xfrm>
            <a:off x="1239892" y="3078004"/>
            <a:ext cx="5805682" cy="5702383"/>
          </a:xfrm>
          <a:prstGeom prst="rect">
            <a:avLst/>
          </a:prstGeom>
        </p:spPr>
        <p:txBody>
          <a:bodyPr/>
          <a:lstStyle>
            <a:lvl1pPr marL="0" indent="0">
              <a:buNone/>
              <a:defRPr sz="2362"/>
            </a:lvl1pPr>
            <a:lvl2pPr marL="675010" indent="0">
              <a:buNone/>
              <a:defRPr sz="2067"/>
            </a:lvl2pPr>
            <a:lvl3pPr marL="1350020" indent="0">
              <a:buNone/>
              <a:defRPr sz="1772"/>
            </a:lvl3pPr>
            <a:lvl4pPr marL="2025030" indent="0">
              <a:buNone/>
              <a:defRPr sz="1476"/>
            </a:lvl4pPr>
            <a:lvl5pPr marL="2700040" indent="0">
              <a:buNone/>
              <a:defRPr sz="1476"/>
            </a:lvl5pPr>
            <a:lvl6pPr marL="3375050" indent="0">
              <a:buNone/>
              <a:defRPr sz="1476"/>
            </a:lvl6pPr>
            <a:lvl7pPr marL="4050060" indent="0">
              <a:buNone/>
              <a:defRPr sz="1476"/>
            </a:lvl7pPr>
            <a:lvl8pPr marL="4725071" indent="0">
              <a:buNone/>
              <a:defRPr sz="1476"/>
            </a:lvl8pPr>
            <a:lvl9pPr marL="5400081" indent="0">
              <a:buNone/>
              <a:defRPr sz="1476"/>
            </a:lvl9pPr>
          </a:lstStyle>
          <a:p>
            <a:pPr lvl="0"/>
            <a:r>
              <a:rPr lang="en-GB"/>
              <a:t>Click to edit Master text styles</a:t>
            </a:r>
          </a:p>
        </p:txBody>
      </p:sp>
      <p:sp>
        <p:nvSpPr>
          <p:cNvPr id="8" name="Title 1">
            <a:extLst>
              <a:ext uri="{FF2B5EF4-FFF2-40B4-BE49-F238E27FC236}">
                <a16:creationId xmlns:a16="http://schemas.microsoft.com/office/drawing/2014/main" id="{A059F074-5CCA-0C41-8B94-40DF66AE3F5D}"/>
              </a:ext>
            </a:extLst>
          </p:cNvPr>
          <p:cNvSpPr>
            <a:spLocks noGrp="1"/>
          </p:cNvSpPr>
          <p:nvPr>
            <p:ph type="title" hasCustomPrompt="1"/>
          </p:nvPr>
        </p:nvSpPr>
        <p:spPr>
          <a:xfrm>
            <a:off x="1239892" y="684001"/>
            <a:ext cx="5805682" cy="2394003"/>
          </a:xfrm>
          <a:prstGeom prst="rect">
            <a:avLst/>
          </a:prstGeom>
        </p:spPr>
        <p:txBody>
          <a:bodyPr anchor="b">
            <a:normAutofit/>
          </a:bodyPr>
          <a:lstStyle>
            <a:lvl1pPr>
              <a:defRPr sz="5315">
                <a:solidFill>
                  <a:schemeClr val="accent1"/>
                </a:solidFill>
              </a:defRPr>
            </a:lvl1pPr>
          </a:lstStyle>
          <a:p>
            <a:r>
              <a:rPr lang="en-GB"/>
              <a:t>CLICK TO EDIT MASTER TITLE STYLE</a:t>
            </a:r>
            <a:endParaRPr lang="en-US"/>
          </a:p>
        </p:txBody>
      </p:sp>
      <p:sp>
        <p:nvSpPr>
          <p:cNvPr id="9" name="Rectangle 8">
            <a:extLst>
              <a:ext uri="{FF2B5EF4-FFF2-40B4-BE49-F238E27FC236}">
                <a16:creationId xmlns:a16="http://schemas.microsoft.com/office/drawing/2014/main" id="{32DC137D-82C3-5343-A1A2-0FA5C088E3E1}"/>
              </a:ext>
            </a:extLst>
          </p:cNvPr>
          <p:cNvSpPr/>
          <p:nvPr userDrawn="1"/>
        </p:nvSpPr>
        <p:spPr>
          <a:xfrm>
            <a:off x="681109" y="1241336"/>
            <a:ext cx="77448" cy="9018679"/>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42"/>
          </a:p>
        </p:txBody>
      </p:sp>
    </p:spTree>
    <p:extLst>
      <p:ext uri="{BB962C8B-B14F-4D97-AF65-F5344CB8AC3E}">
        <p14:creationId xmlns:p14="http://schemas.microsoft.com/office/powerpoint/2010/main" val="1649204950"/>
      </p:ext>
    </p:extLst>
  </p:cSld>
  <p:clrMapOvr>
    <a:masterClrMapping/>
  </p:clrMapOvr>
  <p:extLst>
    <p:ext uri="{DCECCB84-F9BA-43D5-87BE-67443E8EF086}">
      <p15:sldGuideLst xmlns:p15="http://schemas.microsoft.com/office/powerpoint/2012/main">
        <p15:guide id="1" orient="horz" pos="3231" userDrawn="1">
          <p15:clr>
            <a:srgbClr val="FBAE40"/>
          </p15:clr>
        </p15:guide>
        <p15:guide id="2" pos="566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
        <p:nvSpPr>
          <p:cNvPr id="7" name="Rectangle 6">
            <a:extLst>
              <a:ext uri="{FF2B5EF4-FFF2-40B4-BE49-F238E27FC236}">
                <a16:creationId xmlns:a16="http://schemas.microsoft.com/office/drawing/2014/main" id="{ED528B17-1105-9FCC-E7F3-44373D7851FF}"/>
              </a:ext>
            </a:extLst>
          </p:cNvPr>
          <p:cNvSpPr/>
          <p:nvPr userDrawn="1"/>
        </p:nvSpPr>
        <p:spPr>
          <a:xfrm>
            <a:off x="681109" y="1241336"/>
            <a:ext cx="77448" cy="9018679"/>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42"/>
          </a:p>
        </p:txBody>
      </p:sp>
    </p:spTree>
    <p:extLst>
      <p:ext uri="{BB962C8B-B14F-4D97-AF65-F5344CB8AC3E}">
        <p14:creationId xmlns:p14="http://schemas.microsoft.com/office/powerpoint/2010/main" val="418473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28170" y="2557880"/>
            <a:ext cx="15525572" cy="4267880"/>
          </a:xfrm>
        </p:spPr>
        <p:txBody>
          <a:bodyPr anchor="b"/>
          <a:lstStyle>
            <a:lvl1pPr>
              <a:defRPr sz="8858"/>
            </a:lvl1pPr>
          </a:lstStyle>
          <a:p>
            <a:r>
              <a:rPr lang="en-US"/>
              <a:t>Click to edit Master title style</a:t>
            </a:r>
          </a:p>
        </p:txBody>
      </p:sp>
      <p:sp>
        <p:nvSpPr>
          <p:cNvPr id="3" name="Text Placeholder 2"/>
          <p:cNvSpPr>
            <a:spLocks noGrp="1"/>
          </p:cNvSpPr>
          <p:nvPr>
            <p:ph type="body" idx="1"/>
          </p:nvPr>
        </p:nvSpPr>
        <p:spPr>
          <a:xfrm>
            <a:off x="1228170" y="6866135"/>
            <a:ext cx="15525572" cy="2244377"/>
          </a:xfrm>
        </p:spPr>
        <p:txBody>
          <a:bodyPr/>
          <a:lstStyle>
            <a:lvl1pPr marL="0" indent="0">
              <a:buNone/>
              <a:defRPr sz="3543">
                <a:solidFill>
                  <a:schemeClr val="tx1">
                    <a:tint val="75000"/>
                  </a:schemeClr>
                </a:solidFill>
              </a:defRPr>
            </a:lvl1pPr>
            <a:lvl2pPr marL="675010" indent="0">
              <a:buNone/>
              <a:defRPr sz="2953">
                <a:solidFill>
                  <a:schemeClr val="tx1">
                    <a:tint val="75000"/>
                  </a:schemeClr>
                </a:solidFill>
              </a:defRPr>
            </a:lvl2pPr>
            <a:lvl3pPr marL="1350020" indent="0">
              <a:buNone/>
              <a:defRPr sz="2658">
                <a:solidFill>
                  <a:schemeClr val="tx1">
                    <a:tint val="75000"/>
                  </a:schemeClr>
                </a:solidFill>
              </a:defRPr>
            </a:lvl3pPr>
            <a:lvl4pPr marL="2025030" indent="0">
              <a:buNone/>
              <a:defRPr sz="2362">
                <a:solidFill>
                  <a:schemeClr val="tx1">
                    <a:tint val="75000"/>
                  </a:schemeClr>
                </a:solidFill>
              </a:defRPr>
            </a:lvl4pPr>
            <a:lvl5pPr marL="2700040" indent="0">
              <a:buNone/>
              <a:defRPr sz="2362">
                <a:solidFill>
                  <a:schemeClr val="tx1">
                    <a:tint val="75000"/>
                  </a:schemeClr>
                </a:solidFill>
              </a:defRPr>
            </a:lvl5pPr>
            <a:lvl6pPr marL="3375050" indent="0">
              <a:buNone/>
              <a:defRPr sz="2362">
                <a:solidFill>
                  <a:schemeClr val="tx1">
                    <a:tint val="75000"/>
                  </a:schemeClr>
                </a:solidFill>
              </a:defRPr>
            </a:lvl6pPr>
            <a:lvl7pPr marL="4050060" indent="0">
              <a:buNone/>
              <a:defRPr sz="2362">
                <a:solidFill>
                  <a:schemeClr val="tx1">
                    <a:tint val="75000"/>
                  </a:schemeClr>
                </a:solidFill>
              </a:defRPr>
            </a:lvl7pPr>
            <a:lvl8pPr marL="4725071" indent="0">
              <a:buNone/>
              <a:defRPr sz="2362">
                <a:solidFill>
                  <a:schemeClr val="tx1">
                    <a:tint val="75000"/>
                  </a:schemeClr>
                </a:solidFill>
              </a:defRPr>
            </a:lvl8pPr>
            <a:lvl9pPr marL="5400081" indent="0">
              <a:buNone/>
              <a:defRPr sz="236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3/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4734400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37545" y="2731253"/>
            <a:ext cx="7650282" cy="65098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112836" y="2731253"/>
            <a:ext cx="7650282" cy="65098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3/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
        <p:nvSpPr>
          <p:cNvPr id="8" name="Rectangle 7">
            <a:extLst>
              <a:ext uri="{FF2B5EF4-FFF2-40B4-BE49-F238E27FC236}">
                <a16:creationId xmlns:a16="http://schemas.microsoft.com/office/drawing/2014/main" id="{8B542E09-FD74-7177-F706-FD0B6359C6D6}"/>
              </a:ext>
            </a:extLst>
          </p:cNvPr>
          <p:cNvSpPr/>
          <p:nvPr userDrawn="1"/>
        </p:nvSpPr>
        <p:spPr>
          <a:xfrm>
            <a:off x="681109" y="1241336"/>
            <a:ext cx="77448" cy="9018679"/>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42"/>
          </a:p>
        </p:txBody>
      </p:sp>
    </p:spTree>
    <p:extLst>
      <p:ext uri="{BB962C8B-B14F-4D97-AF65-F5344CB8AC3E}">
        <p14:creationId xmlns:p14="http://schemas.microsoft.com/office/powerpoint/2010/main" val="31983437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39890" y="546252"/>
            <a:ext cx="15525572" cy="1983128"/>
          </a:xfrm>
        </p:spPr>
        <p:txBody>
          <a:bodyPr/>
          <a:lstStyle/>
          <a:p>
            <a:r>
              <a:rPr lang="en-US"/>
              <a:t>Click to edit Master title style</a:t>
            </a:r>
          </a:p>
        </p:txBody>
      </p:sp>
      <p:sp>
        <p:nvSpPr>
          <p:cNvPr id="3" name="Text Placeholder 2"/>
          <p:cNvSpPr>
            <a:spLocks noGrp="1"/>
          </p:cNvSpPr>
          <p:nvPr>
            <p:ph type="body" idx="1"/>
          </p:nvPr>
        </p:nvSpPr>
        <p:spPr>
          <a:xfrm>
            <a:off x="1239891" y="2515129"/>
            <a:ext cx="7615123" cy="1232626"/>
          </a:xfrm>
        </p:spPr>
        <p:txBody>
          <a:bodyPr anchor="b"/>
          <a:lstStyle>
            <a:lvl1pPr marL="0" indent="0">
              <a:buNone/>
              <a:defRPr sz="3543" b="1"/>
            </a:lvl1pPr>
            <a:lvl2pPr marL="675010" indent="0">
              <a:buNone/>
              <a:defRPr sz="2953" b="1"/>
            </a:lvl2pPr>
            <a:lvl3pPr marL="1350020" indent="0">
              <a:buNone/>
              <a:defRPr sz="2658" b="1"/>
            </a:lvl3pPr>
            <a:lvl4pPr marL="2025030" indent="0">
              <a:buNone/>
              <a:defRPr sz="2362" b="1"/>
            </a:lvl4pPr>
            <a:lvl5pPr marL="2700040" indent="0">
              <a:buNone/>
              <a:defRPr sz="2362" b="1"/>
            </a:lvl5pPr>
            <a:lvl6pPr marL="3375050" indent="0">
              <a:buNone/>
              <a:defRPr sz="2362" b="1"/>
            </a:lvl6pPr>
            <a:lvl7pPr marL="4050060" indent="0">
              <a:buNone/>
              <a:defRPr sz="2362" b="1"/>
            </a:lvl7pPr>
            <a:lvl8pPr marL="4725071" indent="0">
              <a:buNone/>
              <a:defRPr sz="2362" b="1"/>
            </a:lvl8pPr>
            <a:lvl9pPr marL="5400081" indent="0">
              <a:buNone/>
              <a:defRPr sz="2362" b="1"/>
            </a:lvl9pPr>
          </a:lstStyle>
          <a:p>
            <a:pPr lvl="0"/>
            <a:r>
              <a:rPr lang="en-US"/>
              <a:t>Click to edit Master text styles</a:t>
            </a:r>
          </a:p>
        </p:txBody>
      </p:sp>
      <p:sp>
        <p:nvSpPr>
          <p:cNvPr id="4" name="Content Placeholder 3"/>
          <p:cNvSpPr>
            <a:spLocks noGrp="1"/>
          </p:cNvSpPr>
          <p:nvPr>
            <p:ph sz="half" idx="2"/>
          </p:nvPr>
        </p:nvSpPr>
        <p:spPr>
          <a:xfrm>
            <a:off x="1239891" y="3747755"/>
            <a:ext cx="7615123" cy="5512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112836" y="2515129"/>
            <a:ext cx="7652626" cy="1232626"/>
          </a:xfrm>
        </p:spPr>
        <p:txBody>
          <a:bodyPr anchor="b"/>
          <a:lstStyle>
            <a:lvl1pPr marL="0" indent="0">
              <a:buNone/>
              <a:defRPr sz="3543" b="1"/>
            </a:lvl1pPr>
            <a:lvl2pPr marL="675010" indent="0">
              <a:buNone/>
              <a:defRPr sz="2953" b="1"/>
            </a:lvl2pPr>
            <a:lvl3pPr marL="1350020" indent="0">
              <a:buNone/>
              <a:defRPr sz="2658" b="1"/>
            </a:lvl3pPr>
            <a:lvl4pPr marL="2025030" indent="0">
              <a:buNone/>
              <a:defRPr sz="2362" b="1"/>
            </a:lvl4pPr>
            <a:lvl5pPr marL="2700040" indent="0">
              <a:buNone/>
              <a:defRPr sz="2362" b="1"/>
            </a:lvl5pPr>
            <a:lvl6pPr marL="3375050" indent="0">
              <a:buNone/>
              <a:defRPr sz="2362" b="1"/>
            </a:lvl6pPr>
            <a:lvl7pPr marL="4050060" indent="0">
              <a:buNone/>
              <a:defRPr sz="2362" b="1"/>
            </a:lvl7pPr>
            <a:lvl8pPr marL="4725071" indent="0">
              <a:buNone/>
              <a:defRPr sz="2362" b="1"/>
            </a:lvl8pPr>
            <a:lvl9pPr marL="5400081" indent="0">
              <a:buNone/>
              <a:defRPr sz="2362" b="1"/>
            </a:lvl9pPr>
          </a:lstStyle>
          <a:p>
            <a:pPr lvl="0"/>
            <a:r>
              <a:rPr lang="en-US"/>
              <a:t>Click to edit Master text styles</a:t>
            </a:r>
          </a:p>
        </p:txBody>
      </p:sp>
      <p:sp>
        <p:nvSpPr>
          <p:cNvPr id="6" name="Content Placeholder 5"/>
          <p:cNvSpPr>
            <a:spLocks noGrp="1"/>
          </p:cNvSpPr>
          <p:nvPr>
            <p:ph sz="quarter" idx="4"/>
          </p:nvPr>
        </p:nvSpPr>
        <p:spPr>
          <a:xfrm>
            <a:off x="9112836" y="3747755"/>
            <a:ext cx="7652626" cy="5512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3/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
        <p:nvSpPr>
          <p:cNvPr id="10" name="Rectangle 9">
            <a:extLst>
              <a:ext uri="{FF2B5EF4-FFF2-40B4-BE49-F238E27FC236}">
                <a16:creationId xmlns:a16="http://schemas.microsoft.com/office/drawing/2014/main" id="{938BC3F7-9823-F343-016A-51529EEE1F14}"/>
              </a:ext>
            </a:extLst>
          </p:cNvPr>
          <p:cNvSpPr/>
          <p:nvPr userDrawn="1"/>
        </p:nvSpPr>
        <p:spPr>
          <a:xfrm>
            <a:off x="681109" y="1241336"/>
            <a:ext cx="77448" cy="9018679"/>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42"/>
          </a:p>
        </p:txBody>
      </p:sp>
    </p:spTree>
    <p:extLst>
      <p:ext uri="{BB962C8B-B14F-4D97-AF65-F5344CB8AC3E}">
        <p14:creationId xmlns:p14="http://schemas.microsoft.com/office/powerpoint/2010/main" val="1275570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3/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
        <p:nvSpPr>
          <p:cNvPr id="6" name="Rectangle 5">
            <a:extLst>
              <a:ext uri="{FF2B5EF4-FFF2-40B4-BE49-F238E27FC236}">
                <a16:creationId xmlns:a16="http://schemas.microsoft.com/office/drawing/2014/main" id="{887855CB-C45A-CCD6-CBAA-75AD4018D9E9}"/>
              </a:ext>
            </a:extLst>
          </p:cNvPr>
          <p:cNvSpPr/>
          <p:nvPr userDrawn="1"/>
        </p:nvSpPr>
        <p:spPr>
          <a:xfrm>
            <a:off x="681109" y="1241336"/>
            <a:ext cx="77448" cy="9018679"/>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42"/>
          </a:p>
        </p:txBody>
      </p:sp>
    </p:spTree>
    <p:extLst>
      <p:ext uri="{BB962C8B-B14F-4D97-AF65-F5344CB8AC3E}">
        <p14:creationId xmlns:p14="http://schemas.microsoft.com/office/powerpoint/2010/main" val="4034569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3/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066316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39891" y="684001"/>
            <a:ext cx="5805682" cy="2394003"/>
          </a:xfrm>
        </p:spPr>
        <p:txBody>
          <a:bodyPr anchor="b"/>
          <a:lstStyle>
            <a:lvl1pPr>
              <a:defRPr sz="4724"/>
            </a:lvl1pPr>
          </a:lstStyle>
          <a:p>
            <a:r>
              <a:rPr lang="en-US"/>
              <a:t>Click to edit Master title style</a:t>
            </a:r>
          </a:p>
        </p:txBody>
      </p:sp>
      <p:sp>
        <p:nvSpPr>
          <p:cNvPr id="3" name="Content Placeholder 2"/>
          <p:cNvSpPr>
            <a:spLocks noGrp="1"/>
          </p:cNvSpPr>
          <p:nvPr>
            <p:ph idx="1"/>
          </p:nvPr>
        </p:nvSpPr>
        <p:spPr>
          <a:xfrm>
            <a:off x="7652626" y="1477253"/>
            <a:ext cx="9112836" cy="7291259"/>
          </a:xfrm>
        </p:spPr>
        <p:txBody>
          <a:bodyPr/>
          <a:lstStyle>
            <a:lvl1pPr>
              <a:defRPr sz="4724"/>
            </a:lvl1pPr>
            <a:lvl2pPr>
              <a:defRPr sz="4134"/>
            </a:lvl2pPr>
            <a:lvl3pPr>
              <a:defRPr sz="3543"/>
            </a:lvl3pPr>
            <a:lvl4pPr>
              <a:defRPr sz="2953"/>
            </a:lvl4pPr>
            <a:lvl5pPr>
              <a:defRPr sz="2953"/>
            </a:lvl5pPr>
            <a:lvl6pPr>
              <a:defRPr sz="2953"/>
            </a:lvl6pPr>
            <a:lvl7pPr>
              <a:defRPr sz="2953"/>
            </a:lvl7pPr>
            <a:lvl8pPr>
              <a:defRPr sz="2953"/>
            </a:lvl8pPr>
            <a:lvl9pPr>
              <a:defRPr sz="29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39891" y="3078004"/>
            <a:ext cx="5805682" cy="5702383"/>
          </a:xfrm>
        </p:spPr>
        <p:txBody>
          <a:bodyPr/>
          <a:lstStyle>
            <a:lvl1pPr marL="0" indent="0">
              <a:buNone/>
              <a:defRPr sz="2362"/>
            </a:lvl1pPr>
            <a:lvl2pPr marL="675010" indent="0">
              <a:buNone/>
              <a:defRPr sz="2067"/>
            </a:lvl2pPr>
            <a:lvl3pPr marL="1350020" indent="0">
              <a:buNone/>
              <a:defRPr sz="1772"/>
            </a:lvl3pPr>
            <a:lvl4pPr marL="2025030" indent="0">
              <a:buNone/>
              <a:defRPr sz="1476"/>
            </a:lvl4pPr>
            <a:lvl5pPr marL="2700040" indent="0">
              <a:buNone/>
              <a:defRPr sz="1476"/>
            </a:lvl5pPr>
            <a:lvl6pPr marL="3375050" indent="0">
              <a:buNone/>
              <a:defRPr sz="1476"/>
            </a:lvl6pPr>
            <a:lvl7pPr marL="4050060" indent="0">
              <a:buNone/>
              <a:defRPr sz="1476"/>
            </a:lvl7pPr>
            <a:lvl8pPr marL="4725071" indent="0">
              <a:buNone/>
              <a:defRPr sz="1476"/>
            </a:lvl8pPr>
            <a:lvl9pPr marL="5400081" indent="0">
              <a:buNone/>
              <a:defRPr sz="1476"/>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
        <p:nvSpPr>
          <p:cNvPr id="8" name="Rectangle 7">
            <a:extLst>
              <a:ext uri="{FF2B5EF4-FFF2-40B4-BE49-F238E27FC236}">
                <a16:creationId xmlns:a16="http://schemas.microsoft.com/office/drawing/2014/main" id="{180AA7AE-D449-B845-AF37-AF0261E65E62}"/>
              </a:ext>
            </a:extLst>
          </p:cNvPr>
          <p:cNvSpPr/>
          <p:nvPr userDrawn="1"/>
        </p:nvSpPr>
        <p:spPr>
          <a:xfrm>
            <a:off x="681109" y="1241336"/>
            <a:ext cx="77448" cy="9018679"/>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42"/>
          </a:p>
        </p:txBody>
      </p:sp>
    </p:spTree>
    <p:extLst>
      <p:ext uri="{BB962C8B-B14F-4D97-AF65-F5344CB8AC3E}">
        <p14:creationId xmlns:p14="http://schemas.microsoft.com/office/powerpoint/2010/main" val="37337181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39891" y="684001"/>
            <a:ext cx="5805682" cy="2394003"/>
          </a:xfrm>
        </p:spPr>
        <p:txBody>
          <a:bodyPr anchor="b"/>
          <a:lstStyle>
            <a:lvl1pPr>
              <a:defRPr sz="4724"/>
            </a:lvl1pPr>
          </a:lstStyle>
          <a:p>
            <a:r>
              <a:rPr lang="en-US"/>
              <a:t>Click to edit Master title style</a:t>
            </a:r>
          </a:p>
        </p:txBody>
      </p:sp>
      <p:sp>
        <p:nvSpPr>
          <p:cNvPr id="3" name="Picture Placeholder 2"/>
          <p:cNvSpPr>
            <a:spLocks noGrp="1" noChangeAspect="1"/>
          </p:cNvSpPr>
          <p:nvPr>
            <p:ph type="pic" idx="1"/>
          </p:nvPr>
        </p:nvSpPr>
        <p:spPr>
          <a:xfrm>
            <a:off x="7652626" y="1477253"/>
            <a:ext cx="9112836" cy="7291259"/>
          </a:xfrm>
        </p:spPr>
        <p:txBody>
          <a:bodyPr anchor="t"/>
          <a:lstStyle>
            <a:lvl1pPr marL="0" indent="0">
              <a:buNone/>
              <a:defRPr sz="4724"/>
            </a:lvl1pPr>
            <a:lvl2pPr marL="675010" indent="0">
              <a:buNone/>
              <a:defRPr sz="4134"/>
            </a:lvl2pPr>
            <a:lvl3pPr marL="1350020" indent="0">
              <a:buNone/>
              <a:defRPr sz="3543"/>
            </a:lvl3pPr>
            <a:lvl4pPr marL="2025030" indent="0">
              <a:buNone/>
              <a:defRPr sz="2953"/>
            </a:lvl4pPr>
            <a:lvl5pPr marL="2700040" indent="0">
              <a:buNone/>
              <a:defRPr sz="2953"/>
            </a:lvl5pPr>
            <a:lvl6pPr marL="3375050" indent="0">
              <a:buNone/>
              <a:defRPr sz="2953"/>
            </a:lvl6pPr>
            <a:lvl7pPr marL="4050060" indent="0">
              <a:buNone/>
              <a:defRPr sz="2953"/>
            </a:lvl7pPr>
            <a:lvl8pPr marL="4725071" indent="0">
              <a:buNone/>
              <a:defRPr sz="2953"/>
            </a:lvl8pPr>
            <a:lvl9pPr marL="5400081" indent="0">
              <a:buNone/>
              <a:defRPr sz="2953"/>
            </a:lvl9pPr>
          </a:lstStyle>
          <a:p>
            <a:r>
              <a:rPr lang="en-US"/>
              <a:t>Click icon to add picture</a:t>
            </a:r>
          </a:p>
        </p:txBody>
      </p:sp>
      <p:sp>
        <p:nvSpPr>
          <p:cNvPr id="4" name="Text Placeholder 3"/>
          <p:cNvSpPr>
            <a:spLocks noGrp="1"/>
          </p:cNvSpPr>
          <p:nvPr>
            <p:ph type="body" sz="half" idx="2"/>
          </p:nvPr>
        </p:nvSpPr>
        <p:spPr>
          <a:xfrm>
            <a:off x="1239891" y="3078004"/>
            <a:ext cx="5805682" cy="5702383"/>
          </a:xfrm>
        </p:spPr>
        <p:txBody>
          <a:bodyPr/>
          <a:lstStyle>
            <a:lvl1pPr marL="0" indent="0">
              <a:buNone/>
              <a:defRPr sz="2362"/>
            </a:lvl1pPr>
            <a:lvl2pPr marL="675010" indent="0">
              <a:buNone/>
              <a:defRPr sz="2067"/>
            </a:lvl2pPr>
            <a:lvl3pPr marL="1350020" indent="0">
              <a:buNone/>
              <a:defRPr sz="1772"/>
            </a:lvl3pPr>
            <a:lvl4pPr marL="2025030" indent="0">
              <a:buNone/>
              <a:defRPr sz="1476"/>
            </a:lvl4pPr>
            <a:lvl5pPr marL="2700040" indent="0">
              <a:buNone/>
              <a:defRPr sz="1476"/>
            </a:lvl5pPr>
            <a:lvl6pPr marL="3375050" indent="0">
              <a:buNone/>
              <a:defRPr sz="1476"/>
            </a:lvl6pPr>
            <a:lvl7pPr marL="4050060" indent="0">
              <a:buNone/>
              <a:defRPr sz="1476"/>
            </a:lvl7pPr>
            <a:lvl8pPr marL="4725071" indent="0">
              <a:buNone/>
              <a:defRPr sz="1476"/>
            </a:lvl8pPr>
            <a:lvl9pPr marL="5400081" indent="0">
              <a:buNone/>
              <a:defRPr sz="1476"/>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
        <p:nvSpPr>
          <p:cNvPr id="8" name="Rectangle 7">
            <a:extLst>
              <a:ext uri="{FF2B5EF4-FFF2-40B4-BE49-F238E27FC236}">
                <a16:creationId xmlns:a16="http://schemas.microsoft.com/office/drawing/2014/main" id="{76529F72-2C98-8CCC-6720-88280A742DC1}"/>
              </a:ext>
            </a:extLst>
          </p:cNvPr>
          <p:cNvSpPr/>
          <p:nvPr userDrawn="1"/>
        </p:nvSpPr>
        <p:spPr>
          <a:xfrm>
            <a:off x="681109" y="1241336"/>
            <a:ext cx="77448" cy="9018679"/>
          </a:xfrm>
          <a:prstGeom prst="rect">
            <a:avLst/>
          </a:prstGeom>
          <a:gradFill>
            <a:gsLst>
              <a:gs pos="0">
                <a:srgbClr val="00A0DF"/>
              </a:gs>
              <a:gs pos="100000">
                <a:srgbClr val="00E1D9"/>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942"/>
          </a:p>
        </p:txBody>
      </p:sp>
    </p:spTree>
    <p:extLst>
      <p:ext uri="{BB962C8B-B14F-4D97-AF65-F5344CB8AC3E}">
        <p14:creationId xmlns:p14="http://schemas.microsoft.com/office/powerpoint/2010/main" val="970765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37546" y="546252"/>
            <a:ext cx="15525572" cy="198312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237546" y="2731253"/>
            <a:ext cx="15525572" cy="65098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237546" y="9509513"/>
            <a:ext cx="4050149" cy="546251"/>
          </a:xfrm>
          <a:prstGeom prst="rect">
            <a:avLst/>
          </a:prstGeom>
        </p:spPr>
        <p:txBody>
          <a:bodyPr vert="horz" lIns="91440" tIns="45720" rIns="91440" bIns="45720" rtlCol="0" anchor="ctr"/>
          <a:lstStyle>
            <a:lvl1pPr algn="l">
              <a:defRPr sz="1772">
                <a:solidFill>
                  <a:schemeClr val="tx1">
                    <a:tint val="75000"/>
                  </a:schemeClr>
                </a:solidFill>
              </a:defRPr>
            </a:lvl1pPr>
          </a:lstStyle>
          <a:p>
            <a:fld id="{2493D46D-01EA-4825-91F8-147B23C69993}" type="datetimeFigureOut">
              <a:rPr lang="en-GB" smtClean="0"/>
              <a:t>03/03/2023</a:t>
            </a:fld>
            <a:endParaRPr lang="en-GB"/>
          </a:p>
        </p:txBody>
      </p:sp>
      <p:sp>
        <p:nvSpPr>
          <p:cNvPr id="5" name="Footer Placeholder 4"/>
          <p:cNvSpPr>
            <a:spLocks noGrp="1"/>
          </p:cNvSpPr>
          <p:nvPr>
            <p:ph type="ftr" sz="quarter" idx="3"/>
          </p:nvPr>
        </p:nvSpPr>
        <p:spPr>
          <a:xfrm>
            <a:off x="5962720" y="9509513"/>
            <a:ext cx="6075224" cy="546251"/>
          </a:xfrm>
          <a:prstGeom prst="rect">
            <a:avLst/>
          </a:prstGeom>
        </p:spPr>
        <p:txBody>
          <a:bodyPr vert="horz" lIns="91440" tIns="45720" rIns="91440" bIns="45720" rtlCol="0" anchor="ctr"/>
          <a:lstStyle>
            <a:lvl1pPr algn="ctr">
              <a:defRPr sz="1772">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12712968" y="9509513"/>
            <a:ext cx="4050149" cy="546251"/>
          </a:xfrm>
          <a:prstGeom prst="rect">
            <a:avLst/>
          </a:prstGeom>
        </p:spPr>
        <p:txBody>
          <a:bodyPr vert="horz" lIns="91440" tIns="45720" rIns="91440" bIns="45720" rtlCol="0" anchor="ctr"/>
          <a:lstStyle>
            <a:lvl1pPr algn="r">
              <a:defRPr sz="1772">
                <a:solidFill>
                  <a:schemeClr val="tx1">
                    <a:tint val="75000"/>
                  </a:schemeClr>
                </a:solidFill>
              </a:defRPr>
            </a:lvl1pPr>
          </a:lstStyle>
          <a:p>
            <a:fld id="{733A1BE0-0C14-4683-A559-A9EE34900E16}" type="slidenum">
              <a:rPr lang="en-GB" smtClean="0"/>
              <a:t>‹#›</a:t>
            </a:fld>
            <a:endParaRPr lang="en-GB"/>
          </a:p>
        </p:txBody>
      </p:sp>
      <p:graphicFrame>
        <p:nvGraphicFramePr>
          <p:cNvPr id="7" name="Object 6" hidden="1">
            <a:extLst>
              <a:ext uri="{FF2B5EF4-FFF2-40B4-BE49-F238E27FC236}">
                <a16:creationId xmlns:a16="http://schemas.microsoft.com/office/drawing/2014/main" id="{C9B5D14C-3AD8-4D23-9A1A-22BA98029759}"/>
              </a:ext>
            </a:extLst>
          </p:cNvPr>
          <p:cNvGraphicFramePr>
            <a:graphicFrameLocks noChangeAspect="1"/>
          </p:cNvGraphicFramePr>
          <p:nvPr userDrawn="1">
            <p:custDataLst>
              <p:tags r:id="rId18"/>
            </p:custDataLst>
            <p:extLst>
              <p:ext uri="{D42A27DB-BD31-4B8C-83A1-F6EECF244321}">
                <p14:modId xmlns:p14="http://schemas.microsoft.com/office/powerpoint/2010/main" val="1902063856"/>
              </p:ext>
            </p:extLst>
          </p:nvPr>
        </p:nvGraphicFramePr>
        <p:xfrm>
          <a:off x="2344" y="2376"/>
          <a:ext cx="2345" cy="2376"/>
        </p:xfrm>
        <a:graphic>
          <a:graphicData uri="http://schemas.openxmlformats.org/presentationml/2006/ole">
            <mc:AlternateContent xmlns:mc="http://schemas.openxmlformats.org/markup-compatibility/2006">
              <mc:Choice xmlns:v="urn:schemas-microsoft-com:vml" Requires="v">
                <p:oleObj name="think-cell Slide" r:id="rId19" imgW="415" imgH="416" progId="TCLayout.ActiveDocument.1">
                  <p:embed/>
                </p:oleObj>
              </mc:Choice>
              <mc:Fallback>
                <p:oleObj name="think-cell Slide" r:id="rId19" imgW="415" imgH="416" progId="TCLayout.ActiveDocument.1">
                  <p:embed/>
                  <p:pic>
                    <p:nvPicPr>
                      <p:cNvPr id="7" name="Object 6" hidden="1">
                        <a:extLst>
                          <a:ext uri="{FF2B5EF4-FFF2-40B4-BE49-F238E27FC236}">
                            <a16:creationId xmlns:a16="http://schemas.microsoft.com/office/drawing/2014/main" id="{C9B5D14C-3AD8-4D23-9A1A-22BA98029759}"/>
                          </a:ext>
                        </a:extLst>
                      </p:cNvPr>
                      <p:cNvPicPr/>
                      <p:nvPr/>
                    </p:nvPicPr>
                    <p:blipFill>
                      <a:blip r:embed="rId20"/>
                      <a:stretch>
                        <a:fillRect/>
                      </a:stretch>
                    </p:blipFill>
                    <p:spPr>
                      <a:xfrm>
                        <a:off x="2344" y="2376"/>
                        <a:ext cx="2345" cy="2376"/>
                      </a:xfrm>
                      <a:prstGeom prst="rect">
                        <a:avLst/>
                      </a:prstGeom>
                    </p:spPr>
                  </p:pic>
                </p:oleObj>
              </mc:Fallback>
            </mc:AlternateContent>
          </a:graphicData>
        </a:graphic>
      </p:graphicFrame>
      <p:pic>
        <p:nvPicPr>
          <p:cNvPr id="8" name="Picture 7" descr="Logo&#10;&#10;Description automatically generated">
            <a:extLst>
              <a:ext uri="{FF2B5EF4-FFF2-40B4-BE49-F238E27FC236}">
                <a16:creationId xmlns:a16="http://schemas.microsoft.com/office/drawing/2014/main" id="{3F3DE2B1-D4B4-3FC7-BF45-E2DBF07D3361}"/>
              </a:ext>
            </a:extLst>
          </p:cNvPr>
          <p:cNvPicPr>
            <a:picLocks noChangeAspect="1"/>
          </p:cNvPicPr>
          <p:nvPr userDrawn="1"/>
        </p:nvPicPr>
        <p:blipFill rotWithShape="1">
          <a:blip r:embed="rId21"/>
          <a:srcRect r="42473"/>
          <a:stretch/>
        </p:blipFill>
        <p:spPr>
          <a:xfrm>
            <a:off x="16121290" y="0"/>
            <a:ext cx="1038679" cy="877034"/>
          </a:xfrm>
          <a:prstGeom prst="rect">
            <a:avLst/>
          </a:prstGeom>
        </p:spPr>
      </p:pic>
      <p:pic>
        <p:nvPicPr>
          <p:cNvPr id="9" name="Picture 8" descr="Icon&#10;&#10;Description automatically generated">
            <a:extLst>
              <a:ext uri="{FF2B5EF4-FFF2-40B4-BE49-F238E27FC236}">
                <a16:creationId xmlns:a16="http://schemas.microsoft.com/office/drawing/2014/main" id="{C7605877-8CD1-7CB9-357D-DD24AB3C9FA1}"/>
              </a:ext>
            </a:extLst>
          </p:cNvPr>
          <p:cNvPicPr>
            <a:picLocks noChangeAspect="1"/>
          </p:cNvPicPr>
          <p:nvPr userDrawn="1"/>
        </p:nvPicPr>
        <p:blipFill>
          <a:blip r:embed="rId22"/>
          <a:stretch>
            <a:fillRect/>
          </a:stretch>
        </p:blipFill>
        <p:spPr>
          <a:xfrm>
            <a:off x="17159969" y="0"/>
            <a:ext cx="840694" cy="877035"/>
          </a:xfrm>
          <a:prstGeom prst="rect">
            <a:avLst/>
          </a:prstGeom>
        </p:spPr>
      </p:pic>
      <p:sp>
        <p:nvSpPr>
          <p:cNvPr id="10" name="Rectangle 9">
            <a:extLst>
              <a:ext uri="{FF2B5EF4-FFF2-40B4-BE49-F238E27FC236}">
                <a16:creationId xmlns:a16="http://schemas.microsoft.com/office/drawing/2014/main" id="{7C987D10-967D-04BA-6E61-95FB98512FE8}"/>
              </a:ext>
            </a:extLst>
          </p:cNvPr>
          <p:cNvSpPr/>
          <p:nvPr userDrawn="1"/>
        </p:nvSpPr>
        <p:spPr>
          <a:xfrm>
            <a:off x="16121290" y="28996"/>
            <a:ext cx="1879373" cy="848038"/>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9691161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64" r:id="rId12"/>
    <p:sldLayoutId id="2147483665" r:id="rId13"/>
    <p:sldLayoutId id="2147483666" r:id="rId14"/>
    <p:sldLayoutId id="2147483667" r:id="rId15"/>
    <p:sldLayoutId id="2147483670" r:id="rId16"/>
  </p:sldLayoutIdLst>
  <p:txStyles>
    <p:title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p:titleStyle>
    <p:bodyStyle>
      <a:lvl1pPr marL="337505" indent="-337505" algn="l" defTabSz="1350020" rtl="0" eaLnBrk="1" latinLnBrk="0" hangingPunct="1">
        <a:lnSpc>
          <a:spcPct val="90000"/>
        </a:lnSpc>
        <a:spcBef>
          <a:spcPts val="1476"/>
        </a:spcBef>
        <a:buFont typeface="Arial" panose="020B0604020202020204" pitchFamily="34" charset="0"/>
        <a:buChar char="•"/>
        <a:defRPr sz="4134" kern="1200">
          <a:solidFill>
            <a:schemeClr val="tx1"/>
          </a:solidFill>
          <a:latin typeface="+mn-lt"/>
          <a:ea typeface="+mn-ea"/>
          <a:cs typeface="+mn-cs"/>
        </a:defRPr>
      </a:lvl1pPr>
      <a:lvl2pPr marL="1012515" indent="-337505" algn="l" defTabSz="1350020" rtl="0" eaLnBrk="1" latinLnBrk="0" hangingPunct="1">
        <a:lnSpc>
          <a:spcPct val="90000"/>
        </a:lnSpc>
        <a:spcBef>
          <a:spcPts val="738"/>
        </a:spcBef>
        <a:buFont typeface="Arial" panose="020B0604020202020204" pitchFamily="34" charset="0"/>
        <a:buChar char="•"/>
        <a:defRPr sz="3543" kern="1200">
          <a:solidFill>
            <a:schemeClr val="tx1"/>
          </a:solidFill>
          <a:latin typeface="+mn-lt"/>
          <a:ea typeface="+mn-ea"/>
          <a:cs typeface="+mn-cs"/>
        </a:defRPr>
      </a:lvl2pPr>
      <a:lvl3pPr marL="1687525" indent="-337505" algn="l" defTabSz="1350020" rtl="0" eaLnBrk="1" latinLnBrk="0" hangingPunct="1">
        <a:lnSpc>
          <a:spcPct val="90000"/>
        </a:lnSpc>
        <a:spcBef>
          <a:spcPts val="738"/>
        </a:spcBef>
        <a:buFont typeface="Arial" panose="020B0604020202020204" pitchFamily="34" charset="0"/>
        <a:buChar char="•"/>
        <a:defRPr sz="2953" kern="1200">
          <a:solidFill>
            <a:schemeClr val="tx1"/>
          </a:solidFill>
          <a:latin typeface="+mn-lt"/>
          <a:ea typeface="+mn-ea"/>
          <a:cs typeface="+mn-cs"/>
        </a:defRPr>
      </a:lvl3pPr>
      <a:lvl4pPr marL="2362535" indent="-337505" algn="l" defTabSz="1350020" rtl="0" eaLnBrk="1" latinLnBrk="0" hangingPunct="1">
        <a:lnSpc>
          <a:spcPct val="90000"/>
        </a:lnSpc>
        <a:spcBef>
          <a:spcPts val="738"/>
        </a:spcBef>
        <a:buFont typeface="Arial" panose="020B0604020202020204" pitchFamily="34" charset="0"/>
        <a:buChar char="•"/>
        <a:defRPr sz="2658" kern="1200">
          <a:solidFill>
            <a:schemeClr val="tx1"/>
          </a:solidFill>
          <a:latin typeface="+mn-lt"/>
          <a:ea typeface="+mn-ea"/>
          <a:cs typeface="+mn-cs"/>
        </a:defRPr>
      </a:lvl4pPr>
      <a:lvl5pPr marL="3037545" indent="-337505" algn="l" defTabSz="1350020" rtl="0" eaLnBrk="1" latinLnBrk="0" hangingPunct="1">
        <a:lnSpc>
          <a:spcPct val="90000"/>
        </a:lnSpc>
        <a:spcBef>
          <a:spcPts val="738"/>
        </a:spcBef>
        <a:buFont typeface="Arial" panose="020B0604020202020204" pitchFamily="34" charset="0"/>
        <a:buChar char="•"/>
        <a:defRPr sz="2658" kern="1200">
          <a:solidFill>
            <a:schemeClr val="tx1"/>
          </a:solidFill>
          <a:latin typeface="+mn-lt"/>
          <a:ea typeface="+mn-ea"/>
          <a:cs typeface="+mn-cs"/>
        </a:defRPr>
      </a:lvl5pPr>
      <a:lvl6pPr marL="3712555" indent="-337505" algn="l" defTabSz="1350020" rtl="0" eaLnBrk="1" latinLnBrk="0" hangingPunct="1">
        <a:lnSpc>
          <a:spcPct val="90000"/>
        </a:lnSpc>
        <a:spcBef>
          <a:spcPts val="738"/>
        </a:spcBef>
        <a:buFont typeface="Arial" panose="020B0604020202020204" pitchFamily="34" charset="0"/>
        <a:buChar char="•"/>
        <a:defRPr sz="2658" kern="1200">
          <a:solidFill>
            <a:schemeClr val="tx1"/>
          </a:solidFill>
          <a:latin typeface="+mn-lt"/>
          <a:ea typeface="+mn-ea"/>
          <a:cs typeface="+mn-cs"/>
        </a:defRPr>
      </a:lvl6pPr>
      <a:lvl7pPr marL="4387566" indent="-337505" algn="l" defTabSz="1350020" rtl="0" eaLnBrk="1" latinLnBrk="0" hangingPunct="1">
        <a:lnSpc>
          <a:spcPct val="90000"/>
        </a:lnSpc>
        <a:spcBef>
          <a:spcPts val="738"/>
        </a:spcBef>
        <a:buFont typeface="Arial" panose="020B0604020202020204" pitchFamily="34" charset="0"/>
        <a:buChar char="•"/>
        <a:defRPr sz="2658" kern="1200">
          <a:solidFill>
            <a:schemeClr val="tx1"/>
          </a:solidFill>
          <a:latin typeface="+mn-lt"/>
          <a:ea typeface="+mn-ea"/>
          <a:cs typeface="+mn-cs"/>
        </a:defRPr>
      </a:lvl7pPr>
      <a:lvl8pPr marL="5062576" indent="-337505" algn="l" defTabSz="1350020" rtl="0" eaLnBrk="1" latinLnBrk="0" hangingPunct="1">
        <a:lnSpc>
          <a:spcPct val="90000"/>
        </a:lnSpc>
        <a:spcBef>
          <a:spcPts val="738"/>
        </a:spcBef>
        <a:buFont typeface="Arial" panose="020B0604020202020204" pitchFamily="34" charset="0"/>
        <a:buChar char="•"/>
        <a:defRPr sz="2658" kern="1200">
          <a:solidFill>
            <a:schemeClr val="tx1"/>
          </a:solidFill>
          <a:latin typeface="+mn-lt"/>
          <a:ea typeface="+mn-ea"/>
          <a:cs typeface="+mn-cs"/>
        </a:defRPr>
      </a:lvl8pPr>
      <a:lvl9pPr marL="5737586" indent="-337505" algn="l" defTabSz="1350020" rtl="0" eaLnBrk="1" latinLnBrk="0" hangingPunct="1">
        <a:lnSpc>
          <a:spcPct val="90000"/>
        </a:lnSpc>
        <a:spcBef>
          <a:spcPts val="738"/>
        </a:spcBef>
        <a:buFont typeface="Arial" panose="020B0604020202020204" pitchFamily="34" charset="0"/>
        <a:buChar char="•"/>
        <a:defRPr sz="2658" kern="1200">
          <a:solidFill>
            <a:schemeClr val="tx1"/>
          </a:solidFill>
          <a:latin typeface="+mn-lt"/>
          <a:ea typeface="+mn-ea"/>
          <a:cs typeface="+mn-cs"/>
        </a:defRPr>
      </a:lvl9pPr>
    </p:bodyStyle>
    <p:otherStyle>
      <a:defPPr>
        <a:defRPr lang="en-US"/>
      </a:defPPr>
      <a:lvl1pPr marL="0" algn="l" defTabSz="1350020" rtl="0" eaLnBrk="1" latinLnBrk="0" hangingPunct="1">
        <a:defRPr sz="2658" kern="1200">
          <a:solidFill>
            <a:schemeClr val="tx1"/>
          </a:solidFill>
          <a:latin typeface="+mn-lt"/>
          <a:ea typeface="+mn-ea"/>
          <a:cs typeface="+mn-cs"/>
        </a:defRPr>
      </a:lvl1pPr>
      <a:lvl2pPr marL="675010" algn="l" defTabSz="1350020" rtl="0" eaLnBrk="1" latinLnBrk="0" hangingPunct="1">
        <a:defRPr sz="2658" kern="1200">
          <a:solidFill>
            <a:schemeClr val="tx1"/>
          </a:solidFill>
          <a:latin typeface="+mn-lt"/>
          <a:ea typeface="+mn-ea"/>
          <a:cs typeface="+mn-cs"/>
        </a:defRPr>
      </a:lvl2pPr>
      <a:lvl3pPr marL="1350020" algn="l" defTabSz="1350020" rtl="0" eaLnBrk="1" latinLnBrk="0" hangingPunct="1">
        <a:defRPr sz="2658" kern="1200">
          <a:solidFill>
            <a:schemeClr val="tx1"/>
          </a:solidFill>
          <a:latin typeface="+mn-lt"/>
          <a:ea typeface="+mn-ea"/>
          <a:cs typeface="+mn-cs"/>
        </a:defRPr>
      </a:lvl3pPr>
      <a:lvl4pPr marL="2025030" algn="l" defTabSz="1350020" rtl="0" eaLnBrk="1" latinLnBrk="0" hangingPunct="1">
        <a:defRPr sz="2658" kern="1200">
          <a:solidFill>
            <a:schemeClr val="tx1"/>
          </a:solidFill>
          <a:latin typeface="+mn-lt"/>
          <a:ea typeface="+mn-ea"/>
          <a:cs typeface="+mn-cs"/>
        </a:defRPr>
      </a:lvl4pPr>
      <a:lvl5pPr marL="2700040" algn="l" defTabSz="1350020" rtl="0" eaLnBrk="1" latinLnBrk="0" hangingPunct="1">
        <a:defRPr sz="2658" kern="1200">
          <a:solidFill>
            <a:schemeClr val="tx1"/>
          </a:solidFill>
          <a:latin typeface="+mn-lt"/>
          <a:ea typeface="+mn-ea"/>
          <a:cs typeface="+mn-cs"/>
        </a:defRPr>
      </a:lvl5pPr>
      <a:lvl6pPr marL="3375050" algn="l" defTabSz="1350020" rtl="0" eaLnBrk="1" latinLnBrk="0" hangingPunct="1">
        <a:defRPr sz="2658" kern="1200">
          <a:solidFill>
            <a:schemeClr val="tx1"/>
          </a:solidFill>
          <a:latin typeface="+mn-lt"/>
          <a:ea typeface="+mn-ea"/>
          <a:cs typeface="+mn-cs"/>
        </a:defRPr>
      </a:lvl6pPr>
      <a:lvl7pPr marL="4050060" algn="l" defTabSz="1350020" rtl="0" eaLnBrk="1" latinLnBrk="0" hangingPunct="1">
        <a:defRPr sz="2658" kern="1200">
          <a:solidFill>
            <a:schemeClr val="tx1"/>
          </a:solidFill>
          <a:latin typeface="+mn-lt"/>
          <a:ea typeface="+mn-ea"/>
          <a:cs typeface="+mn-cs"/>
        </a:defRPr>
      </a:lvl7pPr>
      <a:lvl8pPr marL="4725071" algn="l" defTabSz="1350020" rtl="0" eaLnBrk="1" latinLnBrk="0" hangingPunct="1">
        <a:defRPr sz="2658" kern="1200">
          <a:solidFill>
            <a:schemeClr val="tx1"/>
          </a:solidFill>
          <a:latin typeface="+mn-lt"/>
          <a:ea typeface="+mn-ea"/>
          <a:cs typeface="+mn-cs"/>
        </a:defRPr>
      </a:lvl8pPr>
      <a:lvl9pPr marL="5400081" algn="l" defTabSz="1350020" rtl="0" eaLnBrk="1" latinLnBrk="0" hangingPunct="1">
        <a:defRPr sz="265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1" userDrawn="1">
          <p15:clr>
            <a:srgbClr val="F26B43"/>
          </p15:clr>
        </p15:guide>
        <p15:guide id="2" pos="566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3.xml"/><Relationship Id="rId5" Type="http://schemas.openxmlformats.org/officeDocument/2006/relationships/hyperlink" Target="https://valuingwaterinitiative.org/wp-content/uploads/2022/07/VWI-Water-Survey.pdf" TargetMode="Externa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hyperlink" Target="https://valuingwaterinitiative.org/wp-content/uploads/2022/07/VWI-Water-Survey.pdf" TargetMode="External"/><Relationship Id="rId5" Type="http://schemas.openxmlformats.org/officeDocument/2006/relationships/hyperlink" Target="mailto:vwi@rvo.nl" TargetMode="Externa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D31EF3D-2426-29E2-156B-209816F738CA}"/>
              </a:ext>
            </a:extLst>
          </p:cNvPr>
          <p:cNvGraphicFramePr>
            <a:graphicFrameLocks noChangeAspect="1"/>
          </p:cNvGraphicFramePr>
          <p:nvPr>
            <p:custDataLst>
              <p:tags r:id="rId1"/>
            </p:custDataLst>
            <p:extLst>
              <p:ext uri="{D42A27DB-BD31-4B8C-83A1-F6EECF244321}">
                <p14:modId xmlns:p14="http://schemas.microsoft.com/office/powerpoint/2010/main" val="999207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2" name="Object 11" hidden="1">
                        <a:extLst>
                          <a:ext uri="{FF2B5EF4-FFF2-40B4-BE49-F238E27FC236}">
                            <a16:creationId xmlns:a16="http://schemas.microsoft.com/office/drawing/2014/main" id="{8D31EF3D-2426-29E2-156B-209816F738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EDECE36-CF72-E157-044B-C22517EF5C91}"/>
              </a:ext>
            </a:extLst>
          </p:cNvPr>
          <p:cNvSpPr/>
          <p:nvPr/>
        </p:nvSpPr>
        <p:spPr>
          <a:xfrm>
            <a:off x="925381" y="3821058"/>
            <a:ext cx="11034389" cy="5510001"/>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just" defTabSz="1993170">
              <a:defRPr/>
            </a:pPr>
            <a:r>
              <a:rPr lang="en-GB" sz="2067">
                <a:solidFill>
                  <a:schemeClr val="tx1"/>
                </a:solidFill>
                <a:latin typeface="Segoe UI Light" panose="020B0502040204020203" pitchFamily="34" charset="0"/>
                <a:cs typeface="Segoe UI Light" panose="020B0502040204020203" pitchFamily="34" charset="0"/>
              </a:rPr>
              <a:t>This value map gives an </a:t>
            </a:r>
            <a:r>
              <a:rPr lang="en-GB" sz="2067" b="1">
                <a:solidFill>
                  <a:schemeClr val="tx1"/>
                </a:solidFill>
                <a:latin typeface="Segoe UI Light" panose="020B0502040204020203" pitchFamily="34" charset="0"/>
                <a:cs typeface="Segoe UI Light" panose="020B0502040204020203" pitchFamily="34" charset="0"/>
              </a:rPr>
              <a:t>overview of the different values people may assign to water, </a:t>
            </a:r>
            <a:r>
              <a:rPr lang="en-GB" sz="2067">
                <a:solidFill>
                  <a:schemeClr val="tx1"/>
                </a:solidFill>
                <a:latin typeface="Segoe UI Light" panose="020B0502040204020203" pitchFamily="34" charset="0"/>
                <a:cs typeface="Segoe UI Light" panose="020B0502040204020203" pitchFamily="34" charset="0"/>
              </a:rPr>
              <a:t>and which </a:t>
            </a:r>
            <a:r>
              <a:rPr lang="en-GB" sz="2067" b="1">
                <a:solidFill>
                  <a:schemeClr val="tx1"/>
                </a:solidFill>
                <a:latin typeface="Segoe UI Light" panose="020B0502040204020203" pitchFamily="34" charset="0"/>
                <a:cs typeface="Segoe UI Light" panose="020B0502040204020203" pitchFamily="34" charset="0"/>
              </a:rPr>
              <a:t>influence the decisions they make around water</a:t>
            </a:r>
            <a:r>
              <a:rPr lang="en-GB" sz="2067">
                <a:solidFill>
                  <a:schemeClr val="tx1"/>
                </a:solidFill>
                <a:latin typeface="Segoe UI Light" panose="020B0502040204020203" pitchFamily="34" charset="0"/>
                <a:cs typeface="Segoe UI Light" panose="020B0502040204020203" pitchFamily="34" charset="0"/>
              </a:rPr>
              <a:t>.</a:t>
            </a:r>
          </a:p>
          <a:p>
            <a:pPr algn="just" defTabSz="1993170">
              <a:defRPr/>
            </a:pPr>
            <a:r>
              <a:rPr lang="en-GB" sz="2067">
                <a:solidFill>
                  <a:schemeClr val="tx1"/>
                </a:solidFill>
                <a:latin typeface="Segoe UI Light" panose="020B0502040204020203" pitchFamily="34" charset="0"/>
                <a:cs typeface="Segoe UI Light" panose="020B0502040204020203" pitchFamily="34" charset="0"/>
              </a:rPr>
              <a:t>People use water resources in various ways, and they assign varying degrees of value or worth to these uses of water. For some, swimming in a lake is the ultimate form of relaxation. For others, water is used in religious traditions. To a fisherman, water may be seen as their source of income. In good water governance, these </a:t>
            </a:r>
            <a:r>
              <a:rPr lang="en-GB" sz="2067" b="1">
                <a:solidFill>
                  <a:schemeClr val="tx1"/>
                </a:solidFill>
                <a:latin typeface="Segoe UI Light" panose="020B0502040204020203" pitchFamily="34" charset="0"/>
                <a:cs typeface="Segoe UI Light" panose="020B0502040204020203" pitchFamily="34" charset="0"/>
              </a:rPr>
              <a:t>multiple values of water should be recognized and embraced</a:t>
            </a:r>
            <a:r>
              <a:rPr lang="en-GB" sz="2067">
                <a:solidFill>
                  <a:schemeClr val="tx1"/>
                </a:solidFill>
                <a:latin typeface="Segoe UI Light" panose="020B0502040204020203" pitchFamily="34" charset="0"/>
                <a:cs typeface="Segoe UI Light" panose="020B0502040204020203" pitchFamily="34" charset="0"/>
              </a:rPr>
              <a:t>. However, mapping and understanding the variety of values may be difficult at times. This value map is meant to </a:t>
            </a:r>
            <a:r>
              <a:rPr lang="en-GB" sz="2067" b="1">
                <a:solidFill>
                  <a:schemeClr val="tx1"/>
                </a:solidFill>
                <a:latin typeface="Segoe UI Light" panose="020B0502040204020203" pitchFamily="34" charset="0"/>
                <a:cs typeface="Segoe UI Light" panose="020B0502040204020203" pitchFamily="34" charset="0"/>
              </a:rPr>
              <a:t>show the multitude of values which can be assigned to water</a:t>
            </a:r>
            <a:r>
              <a:rPr lang="en-GB" sz="2067">
                <a:solidFill>
                  <a:schemeClr val="tx1"/>
                </a:solidFill>
                <a:latin typeface="Segoe UI Light" panose="020B0502040204020203" pitchFamily="34" charset="0"/>
                <a:cs typeface="Segoe UI Light" panose="020B0502040204020203" pitchFamily="34" charset="0"/>
              </a:rPr>
              <a:t>, in order to inspire. </a:t>
            </a:r>
          </a:p>
          <a:p>
            <a:pPr algn="just" defTabSz="1993170">
              <a:defRPr/>
            </a:pPr>
            <a:r>
              <a:rPr lang="en-GB" sz="2067">
                <a:solidFill>
                  <a:schemeClr val="tx1"/>
                </a:solidFill>
                <a:latin typeface="Segoe UI Light" panose="020B0502040204020203" pitchFamily="34" charset="0"/>
                <a:cs typeface="Segoe UI Light" panose="020B0502040204020203" pitchFamily="34" charset="0"/>
              </a:rPr>
              <a:t>In many contexts, there seems to be a general consensus that water is needed for </a:t>
            </a:r>
            <a:r>
              <a:rPr lang="en-GB" sz="2067" b="1">
                <a:solidFill>
                  <a:schemeClr val="tx1"/>
                </a:solidFill>
                <a:latin typeface="Segoe UI Light" panose="020B0502040204020203" pitchFamily="34" charset="0"/>
                <a:cs typeface="Segoe UI Light" panose="020B0502040204020203" pitchFamily="34" charset="0"/>
              </a:rPr>
              <a:t>human survival </a:t>
            </a:r>
            <a:r>
              <a:rPr lang="en-GB" sz="2067">
                <a:solidFill>
                  <a:schemeClr val="tx1"/>
                </a:solidFill>
                <a:latin typeface="Segoe UI Light" panose="020B0502040204020203" pitchFamily="34" charset="0"/>
                <a:cs typeface="Segoe UI Light" panose="020B0502040204020203" pitchFamily="34" charset="0"/>
              </a:rPr>
              <a:t>and that having access to water resources for </a:t>
            </a:r>
            <a:r>
              <a:rPr lang="en-GB" sz="2067" b="1">
                <a:solidFill>
                  <a:schemeClr val="tx1"/>
                </a:solidFill>
                <a:latin typeface="Segoe UI Light" panose="020B0502040204020203" pitchFamily="34" charset="0"/>
                <a:cs typeface="Segoe UI Light" panose="020B0502040204020203" pitchFamily="34" charset="0"/>
              </a:rPr>
              <a:t>health</a:t>
            </a:r>
            <a:r>
              <a:rPr lang="en-GB" sz="2067">
                <a:solidFill>
                  <a:schemeClr val="tx1"/>
                </a:solidFill>
                <a:latin typeface="Segoe UI Light" panose="020B0502040204020203" pitchFamily="34" charset="0"/>
                <a:cs typeface="Segoe UI Light" panose="020B0502040204020203" pitchFamily="34" charset="0"/>
              </a:rPr>
              <a:t> purposes is a </a:t>
            </a:r>
            <a:r>
              <a:rPr lang="en-GB" sz="2067" b="1">
                <a:solidFill>
                  <a:schemeClr val="tx1"/>
                </a:solidFill>
                <a:latin typeface="Segoe UI Light" panose="020B0502040204020203" pitchFamily="34" charset="0"/>
                <a:cs typeface="Segoe UI Light" panose="020B0502040204020203" pitchFamily="34" charset="0"/>
              </a:rPr>
              <a:t>human right</a:t>
            </a:r>
            <a:r>
              <a:rPr lang="en-GB" sz="2067">
                <a:solidFill>
                  <a:schemeClr val="tx1"/>
                </a:solidFill>
                <a:latin typeface="Segoe UI Light" panose="020B0502040204020203" pitchFamily="34" charset="0"/>
                <a:cs typeface="Segoe UI Light" panose="020B0502040204020203" pitchFamily="34" charset="0"/>
              </a:rPr>
              <a:t>. In decision-making about water, there is often a </a:t>
            </a:r>
            <a:r>
              <a:rPr lang="en-GB" sz="2067" b="1">
                <a:solidFill>
                  <a:schemeClr val="tx1"/>
                </a:solidFill>
                <a:latin typeface="Segoe UI Light" panose="020B0502040204020203" pitchFamily="34" charset="0"/>
                <a:cs typeface="Segoe UI Light" panose="020B0502040204020203" pitchFamily="34" charset="0"/>
              </a:rPr>
              <a:t>trade-off</a:t>
            </a:r>
            <a:r>
              <a:rPr lang="en-GB" sz="2067">
                <a:solidFill>
                  <a:schemeClr val="tx1"/>
                </a:solidFill>
                <a:latin typeface="Segoe UI Light" panose="020B0502040204020203" pitchFamily="34" charset="0"/>
                <a:cs typeface="Segoe UI Light" panose="020B0502040204020203" pitchFamily="34" charset="0"/>
              </a:rPr>
              <a:t> between these health values and the many other values of water which are deemed important. Recognizing the multitude of values at play is a first step to making informed trade-offs. It is important to note that while this map includes a broad range of examples of water values, it is by no means meant to represent an exhaustive overview.</a:t>
            </a:r>
          </a:p>
          <a:p>
            <a:pPr algn="just" defTabSz="1993170">
              <a:defRPr/>
            </a:pPr>
            <a:r>
              <a:rPr lang="en-GB" sz="2067">
                <a:solidFill>
                  <a:schemeClr val="tx1"/>
                </a:solidFill>
                <a:latin typeface="Segoe UI Light" panose="020B0502040204020203" pitchFamily="34" charset="0"/>
                <a:cs typeface="Segoe UI Light" panose="020B0502040204020203" pitchFamily="34" charset="0"/>
              </a:rPr>
              <a:t>The values shown in this map are </a:t>
            </a:r>
            <a:r>
              <a:rPr lang="en-GB" sz="2067" b="1">
                <a:solidFill>
                  <a:schemeClr val="tx1"/>
                </a:solidFill>
                <a:latin typeface="Segoe UI Light" panose="020B0502040204020203" pitchFamily="34" charset="0"/>
                <a:cs typeface="Segoe UI Light" panose="020B0502040204020203" pitchFamily="34" charset="0"/>
              </a:rPr>
              <a:t>assigned water values</a:t>
            </a:r>
            <a:r>
              <a:rPr lang="en-GB" sz="2067">
                <a:solidFill>
                  <a:schemeClr val="tx1"/>
                </a:solidFill>
                <a:latin typeface="Segoe UI Light" panose="020B0502040204020203" pitchFamily="34" charset="0"/>
                <a:cs typeface="Segoe UI Light" panose="020B0502040204020203" pitchFamily="34" charset="0"/>
              </a:rPr>
              <a:t>, meaning they represent the value people attach to water resources and the services they provide (also see </a:t>
            </a:r>
            <a:r>
              <a:rPr lang="en-GB" sz="2067">
                <a:solidFill>
                  <a:schemeClr val="tx1"/>
                </a:solidFill>
                <a:latin typeface="Segoe UI Light" panose="020B0502040204020203" pitchFamily="34" charset="0"/>
                <a:cs typeface="Segoe UI Light" panose="020B0502040204020203" pitchFamily="34" charset="0"/>
                <a:hlinkClick r:id="rId5">
                  <a:extLst>
                    <a:ext uri="{A12FA001-AC4F-418D-AE19-62706E023703}">
                      <ahyp:hlinkClr xmlns:ahyp="http://schemas.microsoft.com/office/drawing/2018/hyperlinkcolor" val="tx"/>
                    </a:ext>
                  </a:extLst>
                </a:hlinkClick>
              </a:rPr>
              <a:t>Global Valuing Water Survey Results</a:t>
            </a:r>
            <a:r>
              <a:rPr lang="en-GB" sz="2067">
                <a:solidFill>
                  <a:schemeClr val="tx1"/>
                </a:solidFill>
                <a:latin typeface="Segoe UI Light" panose="020B0502040204020203" pitchFamily="34" charset="0"/>
                <a:cs typeface="Segoe UI Light" panose="020B0502040204020203" pitchFamily="34" charset="0"/>
              </a:rPr>
              <a:t>). In another value map, we show the </a:t>
            </a:r>
            <a:r>
              <a:rPr lang="en-GB" sz="2067" b="1">
                <a:solidFill>
                  <a:schemeClr val="tx1"/>
                </a:solidFill>
                <a:latin typeface="Segoe UI Light" panose="020B0502040204020203" pitchFamily="34" charset="0"/>
                <a:cs typeface="Segoe UI Light" panose="020B0502040204020203" pitchFamily="34" charset="0"/>
              </a:rPr>
              <a:t>governance-related values </a:t>
            </a:r>
            <a:r>
              <a:rPr lang="en-GB" sz="2067">
                <a:solidFill>
                  <a:schemeClr val="tx1"/>
                </a:solidFill>
                <a:latin typeface="Segoe UI Light" panose="020B0502040204020203" pitchFamily="34" charset="0"/>
                <a:cs typeface="Segoe UI Light" panose="020B0502040204020203" pitchFamily="34" charset="0"/>
              </a:rPr>
              <a:t>which represent people’s views on how to best make decisions around water. </a:t>
            </a:r>
            <a:r>
              <a:rPr lang="en-GB" sz="2067">
                <a:solidFill>
                  <a:schemeClr val="tx1"/>
                </a:solidFill>
                <a:highlight>
                  <a:srgbClr val="FFFF00"/>
                </a:highlight>
                <a:latin typeface="Segoe UI Light" panose="020B0502040204020203" pitchFamily="34" charset="0"/>
                <a:cs typeface="Segoe UI Light" panose="020B0502040204020203" pitchFamily="34" charset="0"/>
              </a:rPr>
              <a:t>[link]</a:t>
            </a:r>
          </a:p>
        </p:txBody>
      </p:sp>
      <p:sp>
        <p:nvSpPr>
          <p:cNvPr id="5" name="Title 1">
            <a:extLst>
              <a:ext uri="{FF2B5EF4-FFF2-40B4-BE49-F238E27FC236}">
                <a16:creationId xmlns:a16="http://schemas.microsoft.com/office/drawing/2014/main" id="{AE65E11B-E400-D9F2-10F7-8A4C6F125520}"/>
              </a:ext>
            </a:extLst>
          </p:cNvPr>
          <p:cNvSpPr txBox="1">
            <a:spLocks/>
          </p:cNvSpPr>
          <p:nvPr/>
        </p:nvSpPr>
        <p:spPr>
          <a:xfrm>
            <a:off x="925381" y="3207564"/>
            <a:ext cx="11034389" cy="613494"/>
          </a:xfrm>
          <a:prstGeom prst="rect">
            <a:avLst/>
          </a:prstGeom>
        </p:spPr>
        <p:txBody>
          <a:bodyPr vert="horz" lIns="91440" tIns="45720" rIns="91440" bIns="4572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800" b="1">
                <a:gradFill>
                  <a:gsLst>
                    <a:gs pos="0">
                      <a:srgbClr val="00A0DF"/>
                    </a:gs>
                    <a:gs pos="100000">
                      <a:srgbClr val="00E1D9"/>
                    </a:gs>
                  </a:gsLst>
                  <a:lin ang="4800000" scaled="0"/>
                </a:gradFill>
                <a:latin typeface="Segoe UI Semibold (Headings)"/>
                <a:cs typeface="Segoe UI" panose="020B0502040204020203" pitchFamily="34" charset="0"/>
              </a:rPr>
              <a:t>What it is</a:t>
            </a:r>
          </a:p>
        </p:txBody>
      </p:sp>
      <p:sp>
        <p:nvSpPr>
          <p:cNvPr id="6" name="Rectangle 5">
            <a:extLst>
              <a:ext uri="{FF2B5EF4-FFF2-40B4-BE49-F238E27FC236}">
                <a16:creationId xmlns:a16="http://schemas.microsoft.com/office/drawing/2014/main" id="{736F972D-5E48-9564-BF7C-13EBC47A933E}"/>
              </a:ext>
            </a:extLst>
          </p:cNvPr>
          <p:cNvSpPr/>
          <p:nvPr/>
        </p:nvSpPr>
        <p:spPr>
          <a:xfrm>
            <a:off x="12482287" y="3868819"/>
            <a:ext cx="5039406" cy="546224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1350020">
              <a:defRPr/>
            </a:pPr>
            <a:r>
              <a:rPr lang="en-GB" sz="2067">
                <a:solidFill>
                  <a:schemeClr val="tx1"/>
                </a:solidFill>
                <a:latin typeface="Segoe UI Light" panose="020B0502040204020203" pitchFamily="34" charset="0"/>
                <a:cs typeface="Segoe UI Light" panose="020B0502040204020203" pitchFamily="34" charset="0"/>
              </a:rPr>
              <a:t>This tool can be used by water management professionals, policy makers and any other person interested in the recognition of the multiple values of water, in several ways:</a:t>
            </a:r>
          </a:p>
          <a:p>
            <a:pPr marL="457200" indent="-457200" algn="just" defTabSz="1350020">
              <a:buClr>
                <a:srgbClr val="009FDE"/>
              </a:buClr>
              <a:buFont typeface="+mj-lt"/>
              <a:buAutoNum type="arabicPeriod"/>
              <a:defRPr/>
            </a:pPr>
            <a:r>
              <a:rPr lang="en-GB" sz="2067">
                <a:solidFill>
                  <a:schemeClr val="tx1"/>
                </a:solidFill>
                <a:latin typeface="Segoe UI Light" panose="020B0502040204020203" pitchFamily="34" charset="0"/>
                <a:cs typeface="Segoe UI Light" panose="020B0502040204020203" pitchFamily="34" charset="0"/>
              </a:rPr>
              <a:t>As an </a:t>
            </a:r>
            <a:r>
              <a:rPr lang="en-GB" sz="2067" b="1">
                <a:solidFill>
                  <a:schemeClr val="tx1"/>
                </a:solidFill>
                <a:latin typeface="Segoe UI Light" panose="020B0502040204020203" pitchFamily="34" charset="0"/>
                <a:cs typeface="Segoe UI Light" panose="020B0502040204020203" pitchFamily="34" charset="0"/>
              </a:rPr>
              <a:t>analysis tool</a:t>
            </a:r>
            <a:r>
              <a:rPr lang="en-GB" sz="2067">
                <a:solidFill>
                  <a:schemeClr val="tx1"/>
                </a:solidFill>
                <a:latin typeface="Segoe UI Light" panose="020B0502040204020203" pitchFamily="34" charset="0"/>
                <a:cs typeface="Segoe UI Light" panose="020B0502040204020203" pitchFamily="34" charset="0"/>
              </a:rPr>
              <a:t> to recognize your own personal or organizational assigned water values</a:t>
            </a:r>
          </a:p>
          <a:p>
            <a:pPr marL="457200" indent="-457200" algn="just" defTabSz="1350020">
              <a:buClr>
                <a:srgbClr val="009FDE"/>
              </a:buClr>
              <a:buFont typeface="+mj-lt"/>
              <a:buAutoNum type="arabicPeriod"/>
              <a:defRPr/>
            </a:pPr>
            <a:r>
              <a:rPr lang="en-GB" sz="2067">
                <a:solidFill>
                  <a:schemeClr val="tx1"/>
                </a:solidFill>
                <a:latin typeface="Segoe UI Light" panose="020B0502040204020203" pitchFamily="34" charset="0"/>
                <a:cs typeface="Segoe UI Light" panose="020B0502040204020203" pitchFamily="34" charset="0"/>
              </a:rPr>
              <a:t>As an </a:t>
            </a:r>
            <a:r>
              <a:rPr lang="en-GB" sz="2067" b="1">
                <a:solidFill>
                  <a:schemeClr val="tx1"/>
                </a:solidFill>
                <a:latin typeface="Segoe UI Light" panose="020B0502040204020203" pitchFamily="34" charset="0"/>
                <a:cs typeface="Segoe UI Light" panose="020B0502040204020203" pitchFamily="34" charset="0"/>
              </a:rPr>
              <a:t>inspirational tool </a:t>
            </a:r>
            <a:r>
              <a:rPr lang="en-GB" sz="2067">
                <a:solidFill>
                  <a:schemeClr val="tx1"/>
                </a:solidFill>
                <a:latin typeface="Segoe UI Light" panose="020B0502040204020203" pitchFamily="34" charset="0"/>
                <a:cs typeface="Segoe UI Light" panose="020B0502040204020203" pitchFamily="34" charset="0"/>
              </a:rPr>
              <a:t>to recognize the multitude of values that exist</a:t>
            </a:r>
          </a:p>
          <a:p>
            <a:pPr marL="457200" indent="-457200" algn="just" defTabSz="1350020">
              <a:buClr>
                <a:srgbClr val="009FDE"/>
              </a:buClr>
              <a:buFont typeface="+mj-lt"/>
              <a:buAutoNum type="arabicPeriod"/>
              <a:defRPr/>
            </a:pPr>
            <a:r>
              <a:rPr lang="en-GB" sz="2067">
                <a:solidFill>
                  <a:schemeClr val="tx1"/>
                </a:solidFill>
                <a:latin typeface="Segoe UI Light" panose="020B0502040204020203" pitchFamily="34" charset="0"/>
                <a:cs typeface="Segoe UI Light" panose="020B0502040204020203" pitchFamily="34" charset="0"/>
              </a:rPr>
              <a:t>As a </a:t>
            </a:r>
            <a:r>
              <a:rPr lang="en-GB" sz="2067" b="1">
                <a:solidFill>
                  <a:schemeClr val="tx1"/>
                </a:solidFill>
                <a:latin typeface="Segoe UI Light" panose="020B0502040204020203" pitchFamily="34" charset="0"/>
                <a:cs typeface="Segoe UI Light" panose="020B0502040204020203" pitchFamily="34" charset="0"/>
              </a:rPr>
              <a:t>basis for discussion </a:t>
            </a:r>
            <a:r>
              <a:rPr lang="en-GB" sz="2067">
                <a:solidFill>
                  <a:schemeClr val="tx1"/>
                </a:solidFill>
                <a:latin typeface="Segoe UI Light" panose="020B0502040204020203" pitchFamily="34" charset="0"/>
                <a:cs typeface="Segoe UI Light" panose="020B0502040204020203" pitchFamily="34" charset="0"/>
              </a:rPr>
              <a:t>about what values you and other stakeholders hold around water</a:t>
            </a:r>
          </a:p>
          <a:p>
            <a:pPr marL="457200" indent="-457200" algn="just" defTabSz="1350020">
              <a:buFont typeface="+mj-lt"/>
              <a:buAutoNum type="arabicPeriod"/>
              <a:defRPr/>
            </a:pPr>
            <a:endParaRPr lang="en-GB" sz="2067">
              <a:solidFill>
                <a:schemeClr val="tx1"/>
              </a:solidFill>
              <a:latin typeface="Segoe UI Light" panose="020B0502040204020203" pitchFamily="34" charset="0"/>
              <a:cs typeface="Segoe UI Light" panose="020B0502040204020203" pitchFamily="34" charset="0"/>
            </a:endParaRPr>
          </a:p>
          <a:p>
            <a:pPr algn="just" defTabSz="1350020">
              <a:defRPr/>
            </a:pPr>
            <a:r>
              <a:rPr lang="en-GB" sz="2067">
                <a:solidFill>
                  <a:schemeClr val="tx1"/>
                </a:solidFill>
                <a:latin typeface="Segoe UI Light" panose="020B0502040204020203" pitchFamily="34" charset="0"/>
                <a:cs typeface="Segoe UI Light" panose="020B0502040204020203" pitchFamily="34" charset="0"/>
              </a:rPr>
              <a:t>If you want to uncover which values prevail in the decisions your organization makes, you can take this survey. </a:t>
            </a:r>
            <a:r>
              <a:rPr lang="en-GB" sz="2067">
                <a:solidFill>
                  <a:schemeClr val="tx1"/>
                </a:solidFill>
                <a:highlight>
                  <a:srgbClr val="FFFF00"/>
                </a:highlight>
                <a:latin typeface="Segoe UI Light" panose="020B0502040204020203" pitchFamily="34" charset="0"/>
                <a:cs typeface="Segoe UI Light" panose="020B0502040204020203" pitchFamily="34" charset="0"/>
              </a:rPr>
              <a:t>[link]</a:t>
            </a:r>
          </a:p>
        </p:txBody>
      </p:sp>
      <p:sp>
        <p:nvSpPr>
          <p:cNvPr id="7" name="Title 1">
            <a:extLst>
              <a:ext uri="{FF2B5EF4-FFF2-40B4-BE49-F238E27FC236}">
                <a16:creationId xmlns:a16="http://schemas.microsoft.com/office/drawing/2014/main" id="{859C7CCB-94EA-A3D7-5555-D83ACEC1656F}"/>
              </a:ext>
            </a:extLst>
          </p:cNvPr>
          <p:cNvSpPr txBox="1">
            <a:spLocks/>
          </p:cNvSpPr>
          <p:nvPr/>
        </p:nvSpPr>
        <p:spPr>
          <a:xfrm>
            <a:off x="12471294" y="3207564"/>
            <a:ext cx="5039406" cy="613494"/>
          </a:xfrm>
          <a:prstGeom prst="rect">
            <a:avLst/>
          </a:prstGeom>
        </p:spPr>
        <p:txBody>
          <a:bodyPr vert="horz" lIns="91440" tIns="45720" rIns="91440" bIns="4572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800" b="1">
                <a:gradFill>
                  <a:gsLst>
                    <a:gs pos="0">
                      <a:srgbClr val="00A0DF"/>
                    </a:gs>
                    <a:gs pos="100000">
                      <a:srgbClr val="00E1D9"/>
                    </a:gs>
                  </a:gsLst>
                  <a:lin ang="4800000" scaled="0"/>
                </a:gradFill>
                <a:latin typeface="Segoe UI Semibold (Headings)"/>
                <a:cs typeface="Segoe UI" panose="020B0502040204020203" pitchFamily="34" charset="0"/>
              </a:rPr>
              <a:t>How to use it</a:t>
            </a:r>
          </a:p>
        </p:txBody>
      </p:sp>
      <p:sp>
        <p:nvSpPr>
          <p:cNvPr id="8" name="Title 1">
            <a:extLst>
              <a:ext uri="{FF2B5EF4-FFF2-40B4-BE49-F238E27FC236}">
                <a16:creationId xmlns:a16="http://schemas.microsoft.com/office/drawing/2014/main" id="{B0685EF2-81A4-CABF-A5BC-82E04787E280}"/>
              </a:ext>
            </a:extLst>
          </p:cNvPr>
          <p:cNvSpPr txBox="1">
            <a:spLocks/>
          </p:cNvSpPr>
          <p:nvPr/>
        </p:nvSpPr>
        <p:spPr>
          <a:xfrm>
            <a:off x="925382" y="1434191"/>
            <a:ext cx="16585317" cy="613494"/>
          </a:xfrm>
          <a:prstGeom prst="rect">
            <a:avLst/>
          </a:prstGeom>
        </p:spPr>
        <p:txBody>
          <a:bodyPr vert="horz" lIns="91440" tIns="45720" rIns="91440" bIns="4572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800" b="1">
                <a:gradFill>
                  <a:gsLst>
                    <a:gs pos="0">
                      <a:srgbClr val="00A0DF"/>
                    </a:gs>
                    <a:gs pos="100000">
                      <a:srgbClr val="00E1D9"/>
                    </a:gs>
                  </a:gsLst>
                  <a:lin ang="4800000" scaled="0"/>
                </a:gradFill>
                <a:latin typeface="Segoe UI Semibold (Headings)"/>
                <a:cs typeface="Segoe UI" panose="020B0502040204020203" pitchFamily="34" charset="0"/>
              </a:rPr>
              <a:t>Purpose of this map</a:t>
            </a:r>
          </a:p>
        </p:txBody>
      </p:sp>
      <p:sp>
        <p:nvSpPr>
          <p:cNvPr id="9" name="Rectangle 8">
            <a:extLst>
              <a:ext uri="{FF2B5EF4-FFF2-40B4-BE49-F238E27FC236}">
                <a16:creationId xmlns:a16="http://schemas.microsoft.com/office/drawing/2014/main" id="{3D588E30-0DA7-AF72-9B33-7A818C3FB181}"/>
              </a:ext>
            </a:extLst>
          </p:cNvPr>
          <p:cNvSpPr/>
          <p:nvPr/>
        </p:nvSpPr>
        <p:spPr>
          <a:xfrm>
            <a:off x="925382" y="2052320"/>
            <a:ext cx="16596310" cy="1169758"/>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just" defTabSz="1993170">
              <a:defRPr/>
            </a:pPr>
            <a:r>
              <a:rPr lang="en-GB" sz="2067">
                <a:solidFill>
                  <a:schemeClr val="tx1"/>
                </a:solidFill>
                <a:latin typeface="Segoe UI Light" panose="020B0502040204020203" pitchFamily="34" charset="0"/>
                <a:cs typeface="Segoe UI Light" panose="020B0502040204020203" pitchFamily="34" charset="0"/>
              </a:rPr>
              <a:t>With this value map, we aim to help answer the following question: “How to identify and map the </a:t>
            </a:r>
            <a:r>
              <a:rPr lang="en-GB" sz="2067" b="1">
                <a:solidFill>
                  <a:schemeClr val="tx1"/>
                </a:solidFill>
                <a:latin typeface="Segoe UI Light" panose="020B0502040204020203" pitchFamily="34" charset="0"/>
                <a:cs typeface="Segoe UI Light" panose="020B0502040204020203" pitchFamily="34" charset="0"/>
              </a:rPr>
              <a:t>multiple values of water</a:t>
            </a:r>
            <a:r>
              <a:rPr lang="en-GB" sz="2067">
                <a:solidFill>
                  <a:schemeClr val="tx1"/>
                </a:solidFill>
                <a:latin typeface="Segoe UI Light" panose="020B0502040204020203" pitchFamily="34" charset="0"/>
                <a:cs typeface="Segoe UI Light" panose="020B0502040204020203" pitchFamily="34" charset="0"/>
              </a:rPr>
              <a:t>?” The following map may </a:t>
            </a:r>
            <a:r>
              <a:rPr lang="en-GB" sz="2067" b="1">
                <a:solidFill>
                  <a:schemeClr val="tx1"/>
                </a:solidFill>
                <a:latin typeface="Segoe UI Light" panose="020B0502040204020203" pitchFamily="34" charset="0"/>
                <a:cs typeface="Segoe UI Light" panose="020B0502040204020203" pitchFamily="34" charset="0"/>
              </a:rPr>
              <a:t>inspire </a:t>
            </a:r>
            <a:r>
              <a:rPr lang="en-GB" sz="2067">
                <a:solidFill>
                  <a:schemeClr val="tx1"/>
                </a:solidFill>
                <a:latin typeface="Segoe UI Light" panose="020B0502040204020203" pitchFamily="34" charset="0"/>
                <a:cs typeface="Segoe UI Light" panose="020B0502040204020203" pitchFamily="34" charset="0"/>
              </a:rPr>
              <a:t>you by giving examples of the multitude of values that exist around water. Identifying and mapping the multiple values of water is a first step in reconciling these values, which in turn leads to </a:t>
            </a:r>
            <a:r>
              <a:rPr lang="en-GB" sz="2067" b="1">
                <a:solidFill>
                  <a:schemeClr val="tx1"/>
                </a:solidFill>
                <a:latin typeface="Segoe UI Light" panose="020B0502040204020203" pitchFamily="34" charset="0"/>
                <a:cs typeface="Segoe UI Light" panose="020B0502040204020203" pitchFamily="34" charset="0"/>
              </a:rPr>
              <a:t>better decisions impacting water.</a:t>
            </a:r>
          </a:p>
        </p:txBody>
      </p:sp>
      <p:sp>
        <p:nvSpPr>
          <p:cNvPr id="11" name="Title 1">
            <a:extLst>
              <a:ext uri="{FF2B5EF4-FFF2-40B4-BE49-F238E27FC236}">
                <a16:creationId xmlns:a16="http://schemas.microsoft.com/office/drawing/2014/main" id="{6B264945-1DB5-4F95-9FAB-16D98E56D164}"/>
              </a:ext>
            </a:extLst>
          </p:cNvPr>
          <p:cNvSpPr txBox="1">
            <a:spLocks/>
          </p:cNvSpPr>
          <p:nvPr/>
        </p:nvSpPr>
        <p:spPr>
          <a:xfrm>
            <a:off x="460142" y="199629"/>
            <a:ext cx="16302975" cy="1014201"/>
          </a:xfrm>
          <a:prstGeom prst="rect">
            <a:avLst/>
          </a:prstGeom>
        </p:spPr>
        <p:txBody>
          <a:bodyPr anchor="t" anchorCtr="0">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defTabSz="914400"/>
            <a:r>
              <a:rPr lang="en-GB" sz="3600">
                <a:solidFill>
                  <a:srgbClr val="009FDE"/>
                </a:solidFill>
                <a:latin typeface="Segoe UI Semibold (Headings)"/>
              </a:rPr>
              <a:t>Value map: Assigned water values</a:t>
            </a:r>
          </a:p>
        </p:txBody>
      </p:sp>
      <p:sp>
        <p:nvSpPr>
          <p:cNvPr id="2" name="Rectangle 1">
            <a:extLst>
              <a:ext uri="{FF2B5EF4-FFF2-40B4-BE49-F238E27FC236}">
                <a16:creationId xmlns:a16="http://schemas.microsoft.com/office/drawing/2014/main" id="{54981CEA-751B-8DC7-0257-8BDA58C79539}"/>
              </a:ext>
            </a:extLst>
          </p:cNvPr>
          <p:cNvSpPr/>
          <p:nvPr/>
        </p:nvSpPr>
        <p:spPr>
          <a:xfrm>
            <a:off x="925382" y="9614942"/>
            <a:ext cx="16596310" cy="408667"/>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ctr" defTabSz="1993170"/>
            <a:r>
              <a:rPr lang="en-GB" sz="1800" i="1">
                <a:solidFill>
                  <a:schemeClr val="bg1">
                    <a:lumMod val="50000"/>
                  </a:schemeClr>
                </a:solidFill>
                <a:latin typeface="Segoe UI Light" panose="020B0502040204020203" pitchFamily="34" charset="0"/>
                <a:cs typeface="Segoe UI Light" panose="020B0502040204020203" pitchFamily="34" charset="0"/>
              </a:rPr>
              <a:t>Values map by the Valuing Water Initiative – Created by NewForesight</a:t>
            </a:r>
          </a:p>
        </p:txBody>
      </p:sp>
    </p:spTree>
    <p:extLst>
      <p:ext uri="{BB962C8B-B14F-4D97-AF65-F5344CB8AC3E}">
        <p14:creationId xmlns:p14="http://schemas.microsoft.com/office/powerpoint/2010/main" val="2464049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948BCC26-C7BA-E811-454D-1C5653BE4A55}"/>
              </a:ext>
            </a:extLst>
          </p:cNvPr>
          <p:cNvGraphicFramePr>
            <a:graphicFrameLocks noChangeAspect="1"/>
          </p:cNvGraphicFramePr>
          <p:nvPr>
            <p:custDataLst>
              <p:tags r:id="rId1"/>
            </p:custDataLst>
            <p:extLst>
              <p:ext uri="{D42A27DB-BD31-4B8C-83A1-F6EECF244321}">
                <p14:modId xmlns:p14="http://schemas.microsoft.com/office/powerpoint/2010/main" val="4206872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8" name="Object 17" hidden="1">
                        <a:extLst>
                          <a:ext uri="{FF2B5EF4-FFF2-40B4-BE49-F238E27FC236}">
                            <a16:creationId xmlns:a16="http://schemas.microsoft.com/office/drawing/2014/main" id="{948BCC26-C7BA-E811-454D-1C5653BE4A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ight Brace 18">
            <a:extLst>
              <a:ext uri="{FF2B5EF4-FFF2-40B4-BE49-F238E27FC236}">
                <a16:creationId xmlns:a16="http://schemas.microsoft.com/office/drawing/2014/main" id="{3084EEE1-1A21-11CB-60A5-842DFBC7CF0B}"/>
              </a:ext>
            </a:extLst>
          </p:cNvPr>
          <p:cNvSpPr/>
          <p:nvPr/>
        </p:nvSpPr>
        <p:spPr>
          <a:xfrm rot="10800000">
            <a:off x="7018062" y="8102837"/>
            <a:ext cx="959605" cy="1053177"/>
          </a:xfrm>
          <a:prstGeom prst="rightBrace">
            <a:avLst>
              <a:gd name="adj1" fmla="val 6194"/>
              <a:gd name="adj2" fmla="val 12387"/>
            </a:avLst>
          </a:prstGeom>
          <a:noFill/>
          <a:ln w="28575" cap="flat" cmpd="sng" algn="ctr">
            <a:solidFill>
              <a:srgbClr val="F2F2F2">
                <a:lumMod val="90000"/>
              </a:srgbClr>
            </a:solidFill>
            <a:prstDash val="solid"/>
          </a:ln>
          <a:effectLst/>
        </p:spPr>
        <p:txBody>
          <a:bodyPr rtlCol="0" anchor="ctr"/>
          <a:lstStyle/>
          <a:p>
            <a:pPr algn="ctr" defTabSz="1350020"/>
            <a:endParaRPr lang="en-GB" sz="3942" kern="0">
              <a:latin typeface="Segoe UI Light" panose="020B0502040204020203" pitchFamily="34" charset="0"/>
              <a:cs typeface="Segoe UI Light" panose="020B0502040204020203" pitchFamily="34" charset="0"/>
            </a:endParaRPr>
          </a:p>
        </p:txBody>
      </p:sp>
      <p:sp>
        <p:nvSpPr>
          <p:cNvPr id="17" name="Right Brace 16">
            <a:extLst>
              <a:ext uri="{FF2B5EF4-FFF2-40B4-BE49-F238E27FC236}">
                <a16:creationId xmlns:a16="http://schemas.microsoft.com/office/drawing/2014/main" id="{1BA4B35F-5901-4272-09CB-84AB2D310DA2}"/>
              </a:ext>
            </a:extLst>
          </p:cNvPr>
          <p:cNvSpPr/>
          <p:nvPr/>
        </p:nvSpPr>
        <p:spPr>
          <a:xfrm rot="10800000" flipH="1">
            <a:off x="7874387" y="6590609"/>
            <a:ext cx="1636056" cy="1512228"/>
          </a:xfrm>
          <a:prstGeom prst="rightBrace">
            <a:avLst>
              <a:gd name="adj1" fmla="val 8333"/>
              <a:gd name="adj2" fmla="val 77505"/>
            </a:avLst>
          </a:prstGeom>
          <a:noFill/>
          <a:ln w="28575" cap="flat" cmpd="sng" algn="ctr">
            <a:solidFill>
              <a:srgbClr val="F2F2F2">
                <a:lumMod val="90000"/>
              </a:srgbClr>
            </a:solidFill>
            <a:prstDash val="solid"/>
          </a:ln>
          <a:effectLst/>
        </p:spPr>
        <p:txBody>
          <a:bodyPr rtlCol="0" anchor="ctr"/>
          <a:lstStyle/>
          <a:p>
            <a:pPr algn="ctr" defTabSz="1350020"/>
            <a:endParaRPr lang="en-GB" sz="3942" kern="0">
              <a:latin typeface="Segoe UI Light" panose="020B0502040204020203" pitchFamily="34" charset="0"/>
              <a:cs typeface="Segoe UI Light" panose="020B0502040204020203" pitchFamily="34" charset="0"/>
            </a:endParaRPr>
          </a:p>
        </p:txBody>
      </p:sp>
      <p:sp>
        <p:nvSpPr>
          <p:cNvPr id="2" name="Title 1">
            <a:extLst>
              <a:ext uri="{FF2B5EF4-FFF2-40B4-BE49-F238E27FC236}">
                <a16:creationId xmlns:a16="http://schemas.microsoft.com/office/drawing/2014/main" id="{6F3D49D7-FFE6-54CE-98F2-53DCB2A61DF1}"/>
              </a:ext>
            </a:extLst>
          </p:cNvPr>
          <p:cNvSpPr txBox="1">
            <a:spLocks/>
          </p:cNvSpPr>
          <p:nvPr/>
        </p:nvSpPr>
        <p:spPr>
          <a:xfrm>
            <a:off x="460142" y="199629"/>
            <a:ext cx="16302975" cy="1014201"/>
          </a:xfrm>
          <a:prstGeom prst="rect">
            <a:avLst/>
          </a:prstGeom>
        </p:spPr>
        <p:txBody>
          <a:bodyPr anchor="t" anchorCtr="0">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defTabSz="914400"/>
            <a:r>
              <a:rPr lang="en-GB" sz="3600">
                <a:solidFill>
                  <a:srgbClr val="009FDE"/>
                </a:solidFill>
                <a:latin typeface="Segoe UI Semibold (Headings)"/>
              </a:rPr>
              <a:t>Value map: Assigned water values</a:t>
            </a:r>
          </a:p>
        </p:txBody>
      </p:sp>
      <p:sp>
        <p:nvSpPr>
          <p:cNvPr id="57" name="Right Brace 56">
            <a:extLst>
              <a:ext uri="{FF2B5EF4-FFF2-40B4-BE49-F238E27FC236}">
                <a16:creationId xmlns:a16="http://schemas.microsoft.com/office/drawing/2014/main" id="{C0F3EBCE-FDCA-695A-997E-8EA73617A63D}"/>
              </a:ext>
            </a:extLst>
          </p:cNvPr>
          <p:cNvSpPr/>
          <p:nvPr/>
        </p:nvSpPr>
        <p:spPr>
          <a:xfrm rot="10800000" flipH="1">
            <a:off x="10224658" y="6241881"/>
            <a:ext cx="959604" cy="1298778"/>
          </a:xfrm>
          <a:prstGeom prst="rightBrace">
            <a:avLst>
              <a:gd name="adj1" fmla="val 8333"/>
              <a:gd name="adj2" fmla="val 6017"/>
            </a:avLst>
          </a:prstGeom>
          <a:noFill/>
          <a:ln w="28575" cap="flat" cmpd="sng" algn="ctr">
            <a:solidFill>
              <a:srgbClr val="66BE45">
                <a:lumMod val="60000"/>
                <a:lumOff val="40000"/>
              </a:srgbClr>
            </a:solidFill>
            <a:prstDash val="solid"/>
          </a:ln>
          <a:effectLst/>
        </p:spPr>
        <p:txBody>
          <a:bodyPr rtlCol="0" anchor="ctr"/>
          <a:lstStyle/>
          <a:p>
            <a:pPr algn="ctr" defTabSz="1350020"/>
            <a:endParaRPr lang="en-GB" sz="3942" kern="0">
              <a:latin typeface="Segoe UI Light" panose="020B0502040204020203" pitchFamily="34" charset="0"/>
              <a:cs typeface="Segoe UI Light" panose="020B0502040204020203" pitchFamily="34" charset="0"/>
            </a:endParaRPr>
          </a:p>
        </p:txBody>
      </p:sp>
      <p:sp>
        <p:nvSpPr>
          <p:cNvPr id="58" name="Right Brace 57">
            <a:extLst>
              <a:ext uri="{FF2B5EF4-FFF2-40B4-BE49-F238E27FC236}">
                <a16:creationId xmlns:a16="http://schemas.microsoft.com/office/drawing/2014/main" id="{D40422C3-F0EC-575D-1C98-D41794B20917}"/>
              </a:ext>
            </a:extLst>
          </p:cNvPr>
          <p:cNvSpPr/>
          <p:nvPr/>
        </p:nvSpPr>
        <p:spPr>
          <a:xfrm rot="10800000">
            <a:off x="6898663" y="5868993"/>
            <a:ext cx="959604" cy="1556790"/>
          </a:xfrm>
          <a:prstGeom prst="rightBrace">
            <a:avLst>
              <a:gd name="adj1" fmla="val 8333"/>
              <a:gd name="adj2" fmla="val 34289"/>
            </a:avLst>
          </a:prstGeom>
          <a:noFill/>
          <a:ln w="28575" cap="flat" cmpd="sng" algn="ctr">
            <a:solidFill>
              <a:schemeClr val="accent2">
                <a:lumMod val="60000"/>
                <a:lumOff val="40000"/>
              </a:schemeClr>
            </a:solidFill>
            <a:prstDash val="solid"/>
          </a:ln>
          <a:effectLst/>
        </p:spPr>
        <p:txBody>
          <a:bodyPr rtlCol="0" anchor="ctr"/>
          <a:lstStyle/>
          <a:p>
            <a:pPr algn="ctr" defTabSz="1350020"/>
            <a:endParaRPr lang="en-GB" sz="3942" kern="0">
              <a:latin typeface="Segoe UI Light" panose="020B0502040204020203" pitchFamily="34" charset="0"/>
              <a:cs typeface="Segoe UI Light" panose="020B0502040204020203" pitchFamily="34" charset="0"/>
            </a:endParaRPr>
          </a:p>
        </p:txBody>
      </p:sp>
      <p:sp>
        <p:nvSpPr>
          <p:cNvPr id="59" name="Right Brace 58">
            <a:extLst>
              <a:ext uri="{FF2B5EF4-FFF2-40B4-BE49-F238E27FC236}">
                <a16:creationId xmlns:a16="http://schemas.microsoft.com/office/drawing/2014/main" id="{9D0238AD-9AD8-33A3-8F8E-887BA96717F5}"/>
              </a:ext>
            </a:extLst>
          </p:cNvPr>
          <p:cNvSpPr/>
          <p:nvPr/>
        </p:nvSpPr>
        <p:spPr>
          <a:xfrm flipH="1">
            <a:off x="9701698" y="1759634"/>
            <a:ext cx="429203" cy="3522772"/>
          </a:xfrm>
          <a:prstGeom prst="rightBrace">
            <a:avLst>
              <a:gd name="adj1" fmla="val 8333"/>
              <a:gd name="adj2" fmla="val 82518"/>
            </a:avLst>
          </a:prstGeom>
          <a:noFill/>
          <a:ln w="28575" cap="flat" cmpd="sng" algn="ctr">
            <a:solidFill>
              <a:srgbClr val="FFCC00">
                <a:lumMod val="60000"/>
                <a:lumOff val="40000"/>
              </a:srgbClr>
            </a:solidFill>
            <a:prstDash val="solid"/>
          </a:ln>
          <a:effectLst/>
        </p:spPr>
        <p:txBody>
          <a:bodyPr rtlCol="0" anchor="ctr"/>
          <a:lstStyle/>
          <a:p>
            <a:pPr marL="0" marR="0" lvl="0" indent="0" algn="ctr" defTabSz="1350020" eaLnBrk="1" fontAlgn="auto" latinLnBrk="0" hangingPunct="1">
              <a:lnSpc>
                <a:spcPct val="100000"/>
              </a:lnSpc>
              <a:spcBef>
                <a:spcPts val="0"/>
              </a:spcBef>
              <a:spcAft>
                <a:spcPts val="0"/>
              </a:spcAft>
              <a:buClrTx/>
              <a:buSzTx/>
              <a:buFontTx/>
              <a:buNone/>
              <a:tabLst/>
              <a:defRPr/>
            </a:pPr>
            <a:endParaRPr kumimoji="0" lang="en-GB" sz="394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60" name="Right Brace 59">
            <a:extLst>
              <a:ext uri="{FF2B5EF4-FFF2-40B4-BE49-F238E27FC236}">
                <a16:creationId xmlns:a16="http://schemas.microsoft.com/office/drawing/2014/main" id="{C034150A-9168-4B00-C6E3-FDFF8A0EB6DD}"/>
              </a:ext>
            </a:extLst>
          </p:cNvPr>
          <p:cNvSpPr/>
          <p:nvPr/>
        </p:nvSpPr>
        <p:spPr>
          <a:xfrm>
            <a:off x="7845252" y="1759634"/>
            <a:ext cx="505778" cy="3033956"/>
          </a:xfrm>
          <a:prstGeom prst="rightBrace">
            <a:avLst>
              <a:gd name="adj1" fmla="val 8333"/>
              <a:gd name="adj2" fmla="val 85936"/>
            </a:avLst>
          </a:prstGeom>
          <a:noFill/>
          <a:ln w="28575" cap="flat" cmpd="sng" algn="ctr">
            <a:solidFill>
              <a:srgbClr val="16B0DB">
                <a:lumMod val="60000"/>
                <a:lumOff val="40000"/>
              </a:srgbClr>
            </a:solidFill>
            <a:prstDash val="solid"/>
          </a:ln>
          <a:effectLst/>
        </p:spPr>
        <p:txBody>
          <a:bodyPr rtlCol="0" anchor="ctr"/>
          <a:lstStyle/>
          <a:p>
            <a:pPr marL="0" marR="0" lvl="0" indent="0" algn="ctr" defTabSz="1350020" eaLnBrk="1" fontAlgn="auto" latinLnBrk="0" hangingPunct="1">
              <a:lnSpc>
                <a:spcPct val="100000"/>
              </a:lnSpc>
              <a:spcBef>
                <a:spcPts val="0"/>
              </a:spcBef>
              <a:spcAft>
                <a:spcPts val="0"/>
              </a:spcAft>
              <a:buClrTx/>
              <a:buSzTx/>
              <a:buFontTx/>
              <a:buNone/>
              <a:tabLst/>
              <a:defRPr/>
            </a:pPr>
            <a:endParaRPr kumimoji="0" lang="en-GB" sz="394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endParaRPr>
          </a:p>
        </p:txBody>
      </p:sp>
      <p:grpSp>
        <p:nvGrpSpPr>
          <p:cNvPr id="62" name="Group 61">
            <a:extLst>
              <a:ext uri="{FF2B5EF4-FFF2-40B4-BE49-F238E27FC236}">
                <a16:creationId xmlns:a16="http://schemas.microsoft.com/office/drawing/2014/main" id="{C11D3F79-883E-0C97-F76A-268F71BF0178}"/>
              </a:ext>
            </a:extLst>
          </p:cNvPr>
          <p:cNvGrpSpPr/>
          <p:nvPr/>
        </p:nvGrpSpPr>
        <p:grpSpPr>
          <a:xfrm>
            <a:off x="7429520" y="3950055"/>
            <a:ext cx="3183808" cy="3186089"/>
            <a:chOff x="5017790" y="3128219"/>
            <a:chExt cx="2156420" cy="2157965"/>
          </a:xfrm>
        </p:grpSpPr>
        <p:sp>
          <p:nvSpPr>
            <p:cNvPr id="63" name="Teardrop 62">
              <a:extLst>
                <a:ext uri="{FF2B5EF4-FFF2-40B4-BE49-F238E27FC236}">
                  <a16:creationId xmlns:a16="http://schemas.microsoft.com/office/drawing/2014/main" id="{E923A047-78DF-B7D4-8230-EC949193FEF2}"/>
                </a:ext>
              </a:extLst>
            </p:cNvPr>
            <p:cNvSpPr/>
            <p:nvPr/>
          </p:nvSpPr>
          <p:spPr>
            <a:xfrm rot="18858388">
              <a:off x="5017017" y="3128992"/>
              <a:ext cx="2157965" cy="2156420"/>
            </a:xfrm>
            <a:prstGeom prst="teardrop">
              <a:avLst>
                <a:gd name="adj" fmla="val 125507"/>
              </a:avLst>
            </a:prstGeom>
            <a:solidFill>
              <a:srgbClr val="16B0DB">
                <a:lumMod val="20000"/>
                <a:lumOff val="80000"/>
              </a:srgbClr>
            </a:solidFill>
            <a:ln w="25400" cap="flat" cmpd="sng" algn="ctr">
              <a:noFill/>
              <a:prstDash val="solid"/>
            </a:ln>
            <a:effectLst/>
          </p:spPr>
          <p:txBody>
            <a:bodyPr rtlCol="0" anchor="t"/>
            <a:lstStyle/>
            <a:p>
              <a:pPr marL="253129" marR="0" lvl="0" indent="-253129" defTabSz="135002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64" name="Flowchart: Connector 63">
              <a:extLst>
                <a:ext uri="{FF2B5EF4-FFF2-40B4-BE49-F238E27FC236}">
                  <a16:creationId xmlns:a16="http://schemas.microsoft.com/office/drawing/2014/main" id="{745BA2AC-BE3E-4FF2-99DE-B5CDFDD7B1B1}"/>
                </a:ext>
              </a:extLst>
            </p:cNvPr>
            <p:cNvSpPr/>
            <p:nvPr/>
          </p:nvSpPr>
          <p:spPr>
            <a:xfrm>
              <a:off x="5202486" y="3415261"/>
              <a:ext cx="1858296" cy="1691388"/>
            </a:xfrm>
            <a:prstGeom prst="flowChartConnector">
              <a:avLst/>
            </a:prstGeom>
            <a:solidFill>
              <a:srgbClr val="16B0DB">
                <a:lumMod val="20000"/>
                <a:lumOff val="80000"/>
              </a:srgbClr>
            </a:solidFill>
            <a:ln w="25400" cap="flat" cmpd="sng" algn="ctr">
              <a:noFill/>
              <a:prstDash val="solid"/>
            </a:ln>
            <a:effectLst/>
          </p:spPr>
          <p:txBody>
            <a:bodyPr rtlCol="0" anchor="t"/>
            <a:lstStyle/>
            <a:p>
              <a:pPr marL="0" marR="0" lvl="0" indent="0" algn="ctr" defTabSz="135002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What values may different stakeholders assign to water?</a:t>
              </a:r>
            </a:p>
          </p:txBody>
        </p:sp>
      </p:grpSp>
      <p:sp>
        <p:nvSpPr>
          <p:cNvPr id="65" name="Rectangle: Rounded Corners 64">
            <a:extLst>
              <a:ext uri="{FF2B5EF4-FFF2-40B4-BE49-F238E27FC236}">
                <a16:creationId xmlns:a16="http://schemas.microsoft.com/office/drawing/2014/main" id="{CA123E24-5143-B2CE-01CC-5B2F73487954}"/>
              </a:ext>
            </a:extLst>
          </p:cNvPr>
          <p:cNvSpPr/>
          <p:nvPr/>
        </p:nvSpPr>
        <p:spPr>
          <a:xfrm>
            <a:off x="14262409" y="1043579"/>
            <a:ext cx="3274882" cy="696285"/>
          </a:xfrm>
          <a:prstGeom prst="roundRect">
            <a:avLst/>
          </a:prstGeom>
          <a:noFill/>
          <a:ln w="25400" cap="flat" cmpd="sng" algn="ctr">
            <a:solidFill>
              <a:srgbClr val="FFCC00">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Water is an asset for economic development”</a:t>
            </a:r>
          </a:p>
        </p:txBody>
      </p:sp>
      <p:sp>
        <p:nvSpPr>
          <p:cNvPr id="66" name="Rectangle: Rounded Corners 65">
            <a:extLst>
              <a:ext uri="{FF2B5EF4-FFF2-40B4-BE49-F238E27FC236}">
                <a16:creationId xmlns:a16="http://schemas.microsoft.com/office/drawing/2014/main" id="{BD06E82A-E71E-760D-2654-9DE48926F8BE}"/>
              </a:ext>
            </a:extLst>
          </p:cNvPr>
          <p:cNvSpPr/>
          <p:nvPr/>
        </p:nvSpPr>
        <p:spPr>
          <a:xfrm>
            <a:off x="14262409" y="1913834"/>
            <a:ext cx="3274882" cy="696285"/>
          </a:xfrm>
          <a:prstGeom prst="roundRect">
            <a:avLst/>
          </a:prstGeom>
          <a:noFill/>
          <a:ln w="25400" cap="flat" cmpd="sng" algn="ctr">
            <a:solidFill>
              <a:srgbClr val="FFCC00">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Water is the basis for agricultural production”</a:t>
            </a:r>
          </a:p>
        </p:txBody>
      </p:sp>
      <p:sp>
        <p:nvSpPr>
          <p:cNvPr id="67" name="Rectangle: Rounded Corners 66">
            <a:extLst>
              <a:ext uri="{FF2B5EF4-FFF2-40B4-BE49-F238E27FC236}">
                <a16:creationId xmlns:a16="http://schemas.microsoft.com/office/drawing/2014/main" id="{F81601BF-B6D8-1FA9-029C-913528DFBB4C}"/>
              </a:ext>
            </a:extLst>
          </p:cNvPr>
          <p:cNvSpPr/>
          <p:nvPr/>
        </p:nvSpPr>
        <p:spPr>
          <a:xfrm>
            <a:off x="14262409" y="3654344"/>
            <a:ext cx="3274882" cy="956728"/>
          </a:xfrm>
          <a:prstGeom prst="roundRect">
            <a:avLst/>
          </a:prstGeom>
          <a:noFill/>
          <a:ln w="25400" cap="flat" cmpd="sng" algn="ctr">
            <a:solidFill>
              <a:srgbClr val="FFCC00">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Water is a source for renewable hydroelectric energy production”</a:t>
            </a:r>
          </a:p>
        </p:txBody>
      </p:sp>
      <p:sp>
        <p:nvSpPr>
          <p:cNvPr id="68" name="Rectangle: Rounded Corners 67">
            <a:extLst>
              <a:ext uri="{FF2B5EF4-FFF2-40B4-BE49-F238E27FC236}">
                <a16:creationId xmlns:a16="http://schemas.microsoft.com/office/drawing/2014/main" id="{30820181-5781-4DEA-1E39-BA34505FCAB0}"/>
              </a:ext>
            </a:extLst>
          </p:cNvPr>
          <p:cNvSpPr/>
          <p:nvPr/>
        </p:nvSpPr>
        <p:spPr>
          <a:xfrm>
            <a:off x="14262409" y="4785042"/>
            <a:ext cx="3274882" cy="956728"/>
          </a:xfrm>
          <a:prstGeom prst="roundRect">
            <a:avLst/>
          </a:prstGeom>
          <a:noFill/>
          <a:ln w="25400" cap="flat" cmpd="sng" algn="ctr">
            <a:solidFill>
              <a:srgbClr val="FFCC00">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Water is a source of livelihoods to people (in rural communities)”</a:t>
            </a:r>
          </a:p>
        </p:txBody>
      </p:sp>
      <p:sp>
        <p:nvSpPr>
          <p:cNvPr id="69" name="Rectangle: Rounded Corners 68">
            <a:extLst>
              <a:ext uri="{FF2B5EF4-FFF2-40B4-BE49-F238E27FC236}">
                <a16:creationId xmlns:a16="http://schemas.microsoft.com/office/drawing/2014/main" id="{A4C22BE1-6538-43F4-558D-526788BEB08F}"/>
              </a:ext>
            </a:extLst>
          </p:cNvPr>
          <p:cNvSpPr/>
          <p:nvPr/>
        </p:nvSpPr>
        <p:spPr>
          <a:xfrm>
            <a:off x="429973" y="1015772"/>
            <a:ext cx="3535168" cy="696285"/>
          </a:xfrm>
          <a:prstGeom prst="roundRect">
            <a:avLst/>
          </a:prstGeom>
          <a:noFill/>
          <a:ln w="25400" cap="flat" cmpd="sng" algn="ctr">
            <a:solidFill>
              <a:srgbClr val="16B0DB">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Water shapes our identity and who we are”</a:t>
            </a:r>
          </a:p>
        </p:txBody>
      </p:sp>
      <p:sp>
        <p:nvSpPr>
          <p:cNvPr id="70" name="Rectangle: Rounded Corners 69">
            <a:extLst>
              <a:ext uri="{FF2B5EF4-FFF2-40B4-BE49-F238E27FC236}">
                <a16:creationId xmlns:a16="http://schemas.microsoft.com/office/drawing/2014/main" id="{2516F9F6-287B-AB19-8A54-1853352B13B1}"/>
              </a:ext>
            </a:extLst>
          </p:cNvPr>
          <p:cNvSpPr/>
          <p:nvPr/>
        </p:nvSpPr>
        <p:spPr>
          <a:xfrm>
            <a:off x="429973" y="1917482"/>
            <a:ext cx="3535168" cy="409235"/>
          </a:xfrm>
          <a:prstGeom prst="roundRect">
            <a:avLst/>
          </a:prstGeom>
          <a:noFill/>
          <a:ln w="25400" cap="flat" cmpd="sng" algn="ctr">
            <a:solidFill>
              <a:srgbClr val="16B0DB">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Water is a place of beauty”</a:t>
            </a:r>
          </a:p>
        </p:txBody>
      </p:sp>
      <p:sp>
        <p:nvSpPr>
          <p:cNvPr id="71" name="Rectangle: Rounded Corners 70">
            <a:extLst>
              <a:ext uri="{FF2B5EF4-FFF2-40B4-BE49-F238E27FC236}">
                <a16:creationId xmlns:a16="http://schemas.microsoft.com/office/drawing/2014/main" id="{BE46BFC8-CFD1-B071-47D9-12F35C52DF69}"/>
              </a:ext>
            </a:extLst>
          </p:cNvPr>
          <p:cNvSpPr/>
          <p:nvPr/>
        </p:nvSpPr>
        <p:spPr>
          <a:xfrm>
            <a:off x="429973" y="2532142"/>
            <a:ext cx="3535168" cy="696285"/>
          </a:xfrm>
          <a:prstGeom prst="roundRect">
            <a:avLst/>
          </a:prstGeom>
          <a:noFill/>
          <a:ln w="25400" cap="flat" cmpd="sng" algn="ctr">
            <a:solidFill>
              <a:srgbClr val="16B0DB">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Water serves as a site for spirituality and cultural traditions”</a:t>
            </a:r>
          </a:p>
        </p:txBody>
      </p:sp>
      <p:sp>
        <p:nvSpPr>
          <p:cNvPr id="72" name="Rectangle: Rounded Corners 71">
            <a:extLst>
              <a:ext uri="{FF2B5EF4-FFF2-40B4-BE49-F238E27FC236}">
                <a16:creationId xmlns:a16="http://schemas.microsoft.com/office/drawing/2014/main" id="{B5DDF0A4-583F-3E99-C966-0FF6B57BDCBC}"/>
              </a:ext>
            </a:extLst>
          </p:cNvPr>
          <p:cNvSpPr/>
          <p:nvPr/>
        </p:nvSpPr>
        <p:spPr>
          <a:xfrm>
            <a:off x="456736" y="3413286"/>
            <a:ext cx="3535168" cy="696285"/>
          </a:xfrm>
          <a:prstGeom prst="roundRect">
            <a:avLst/>
          </a:prstGeom>
          <a:noFill/>
          <a:ln w="25400" cap="flat" cmpd="sng" algn="ctr">
            <a:solidFill>
              <a:srgbClr val="16B0DB">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Water is a place for recreation and leisure”</a:t>
            </a:r>
          </a:p>
        </p:txBody>
      </p:sp>
      <p:sp>
        <p:nvSpPr>
          <p:cNvPr id="73" name="Rectangle: Rounded Corners 72">
            <a:extLst>
              <a:ext uri="{FF2B5EF4-FFF2-40B4-BE49-F238E27FC236}">
                <a16:creationId xmlns:a16="http://schemas.microsoft.com/office/drawing/2014/main" id="{65A327EA-1507-5CD2-DA5B-3D7F76DE3648}"/>
              </a:ext>
            </a:extLst>
          </p:cNvPr>
          <p:cNvSpPr/>
          <p:nvPr/>
        </p:nvSpPr>
        <p:spPr>
          <a:xfrm>
            <a:off x="459345" y="6421099"/>
            <a:ext cx="3517089" cy="696285"/>
          </a:xfrm>
          <a:prstGeom prst="roundRect">
            <a:avLst/>
          </a:prstGeom>
          <a:noFill/>
          <a:ln w="25400" cap="flat" cmpd="sng" algn="ctr">
            <a:solidFill>
              <a:schemeClr val="accent2">
                <a:lumMod val="60000"/>
                <a:lumOff val="40000"/>
              </a:schemeClr>
            </a:solidFill>
            <a:prstDash val="solid"/>
          </a:ln>
          <a:effectLst/>
        </p:spPr>
        <p:txBody>
          <a:bodyPr rtlCol="0" anchor="ctr"/>
          <a:lstStyle/>
          <a:p>
            <a:pPr defTabSz="1350020"/>
            <a:r>
              <a:rPr lang="en-GB" sz="1772" kern="0">
                <a:latin typeface="Segoe UI Light" panose="020B0502040204020203" pitchFamily="34" charset="0"/>
                <a:cs typeface="Segoe UI Light" panose="020B0502040204020203" pitchFamily="34" charset="0"/>
              </a:rPr>
              <a:t>“Water is used for drinking directly or as an input for other drinks”</a:t>
            </a:r>
          </a:p>
        </p:txBody>
      </p:sp>
      <p:sp>
        <p:nvSpPr>
          <p:cNvPr id="74" name="Rectangle: Rounded Corners 73">
            <a:extLst>
              <a:ext uri="{FF2B5EF4-FFF2-40B4-BE49-F238E27FC236}">
                <a16:creationId xmlns:a16="http://schemas.microsoft.com/office/drawing/2014/main" id="{331A0460-F050-58C0-7DDD-25735C1B0E47}"/>
              </a:ext>
            </a:extLst>
          </p:cNvPr>
          <p:cNvSpPr/>
          <p:nvPr/>
        </p:nvSpPr>
        <p:spPr>
          <a:xfrm>
            <a:off x="458390" y="7282788"/>
            <a:ext cx="3517089" cy="696285"/>
          </a:xfrm>
          <a:prstGeom prst="roundRect">
            <a:avLst/>
          </a:prstGeom>
          <a:noFill/>
          <a:ln w="25400" cap="flat" cmpd="sng" algn="ctr">
            <a:solidFill>
              <a:schemeClr val="accent2">
                <a:lumMod val="60000"/>
                <a:lumOff val="40000"/>
              </a:schemeClr>
            </a:solidFill>
            <a:prstDash val="solid"/>
          </a:ln>
          <a:effectLst/>
        </p:spPr>
        <p:txBody>
          <a:bodyPr rtlCol="0" anchor="ctr"/>
          <a:lstStyle/>
          <a:p>
            <a:pPr defTabSz="1350020"/>
            <a:r>
              <a:rPr lang="en-GB" sz="1772" kern="0">
                <a:latin typeface="Segoe UI Light" panose="020B0502040204020203" pitchFamily="34" charset="0"/>
                <a:cs typeface="Segoe UI Light" panose="020B0502040204020203" pitchFamily="34" charset="0"/>
              </a:rPr>
              <a:t>“Water is used for sanitation and hygiene”</a:t>
            </a:r>
          </a:p>
        </p:txBody>
      </p:sp>
      <p:sp>
        <p:nvSpPr>
          <p:cNvPr id="75" name="Rectangle: Rounded Corners 74">
            <a:extLst>
              <a:ext uri="{FF2B5EF4-FFF2-40B4-BE49-F238E27FC236}">
                <a16:creationId xmlns:a16="http://schemas.microsoft.com/office/drawing/2014/main" id="{52F270CC-612E-25CA-BCB7-2BB8F2445711}"/>
              </a:ext>
            </a:extLst>
          </p:cNvPr>
          <p:cNvSpPr/>
          <p:nvPr/>
        </p:nvSpPr>
        <p:spPr>
          <a:xfrm>
            <a:off x="6250706" y="1467494"/>
            <a:ext cx="1594547" cy="690970"/>
          </a:xfrm>
          <a:prstGeom prst="roundRect">
            <a:avLst/>
          </a:prstGeom>
          <a:solidFill>
            <a:srgbClr val="16B0DB">
              <a:lumMod val="60000"/>
              <a:lumOff val="40000"/>
            </a:srgbClr>
          </a:solidFill>
          <a:ln w="25400" cap="flat" cmpd="sng" algn="ctr">
            <a:solidFill>
              <a:srgbClr val="16B0DB">
                <a:lumMod val="60000"/>
                <a:lumOff val="40000"/>
              </a:srgbClr>
            </a:solidFill>
            <a:prstDash val="solid"/>
          </a:ln>
          <a:effectLst/>
        </p:spPr>
        <p:txBody>
          <a:bodyPr rtlCol="0" anchor="ctr"/>
          <a:lstStyle/>
          <a:p>
            <a:pPr marL="0" marR="0" lvl="0" indent="0" algn="ctr"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Cultural values</a:t>
            </a:r>
          </a:p>
        </p:txBody>
      </p:sp>
      <p:sp>
        <p:nvSpPr>
          <p:cNvPr id="76" name="Rectangle: Rounded Corners 75">
            <a:extLst>
              <a:ext uri="{FF2B5EF4-FFF2-40B4-BE49-F238E27FC236}">
                <a16:creationId xmlns:a16="http://schemas.microsoft.com/office/drawing/2014/main" id="{040AFC3E-4714-06E8-F753-EE2A07A33547}"/>
              </a:ext>
            </a:extLst>
          </p:cNvPr>
          <p:cNvSpPr/>
          <p:nvPr/>
        </p:nvSpPr>
        <p:spPr>
          <a:xfrm>
            <a:off x="10122464" y="1429115"/>
            <a:ext cx="1594547" cy="692984"/>
          </a:xfrm>
          <a:prstGeom prst="roundRect">
            <a:avLst/>
          </a:prstGeom>
          <a:solidFill>
            <a:srgbClr val="FFCC00">
              <a:lumMod val="60000"/>
              <a:lumOff val="40000"/>
            </a:srgbClr>
          </a:solidFill>
          <a:ln w="25400" cap="flat" cmpd="sng" algn="ctr">
            <a:solidFill>
              <a:srgbClr val="FFCC00">
                <a:lumMod val="60000"/>
                <a:lumOff val="40000"/>
              </a:srgbClr>
            </a:solidFill>
            <a:prstDash val="solid"/>
          </a:ln>
          <a:effectLst/>
        </p:spPr>
        <p:txBody>
          <a:bodyPr rtlCol="0" anchor="ctr"/>
          <a:lstStyle/>
          <a:p>
            <a:pPr marL="0" marR="0" lvl="0" indent="0" algn="ctr"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Economic values</a:t>
            </a:r>
          </a:p>
        </p:txBody>
      </p:sp>
      <p:sp>
        <p:nvSpPr>
          <p:cNvPr id="77" name="Rectangle: Rounded Corners 76">
            <a:extLst>
              <a:ext uri="{FF2B5EF4-FFF2-40B4-BE49-F238E27FC236}">
                <a16:creationId xmlns:a16="http://schemas.microsoft.com/office/drawing/2014/main" id="{F9A12F4A-91FA-C745-230C-2F169268255F}"/>
              </a:ext>
            </a:extLst>
          </p:cNvPr>
          <p:cNvSpPr/>
          <p:nvPr/>
        </p:nvSpPr>
        <p:spPr>
          <a:xfrm>
            <a:off x="5956804" y="6799065"/>
            <a:ext cx="1966608" cy="690970"/>
          </a:xfrm>
          <a:prstGeom prst="roundRect">
            <a:avLst/>
          </a:prstGeom>
          <a:solidFill>
            <a:schemeClr val="accent2">
              <a:lumMod val="60000"/>
              <a:lumOff val="40000"/>
            </a:schemeClr>
          </a:solidFill>
          <a:ln w="25400" cap="flat" cmpd="sng" algn="ctr">
            <a:solidFill>
              <a:schemeClr val="accent2">
                <a:lumMod val="60000"/>
                <a:lumOff val="40000"/>
              </a:schemeClr>
            </a:solidFill>
            <a:prstDash val="solid"/>
          </a:ln>
          <a:effectLst/>
        </p:spPr>
        <p:txBody>
          <a:bodyPr rtlCol="0" anchor="ctr"/>
          <a:lstStyle/>
          <a:p>
            <a:pPr algn="ctr" defTabSz="1350020"/>
            <a:r>
              <a:rPr lang="en-GB" sz="1772" b="1" kern="0">
                <a:latin typeface="Segoe UI Light" panose="020B0502040204020203" pitchFamily="34" charset="0"/>
                <a:cs typeface="Segoe UI Light" panose="020B0502040204020203" pitchFamily="34" charset="0"/>
              </a:rPr>
              <a:t>Health values</a:t>
            </a:r>
          </a:p>
        </p:txBody>
      </p:sp>
      <p:sp>
        <p:nvSpPr>
          <p:cNvPr id="78" name="Right Brace 77">
            <a:extLst>
              <a:ext uri="{FF2B5EF4-FFF2-40B4-BE49-F238E27FC236}">
                <a16:creationId xmlns:a16="http://schemas.microsoft.com/office/drawing/2014/main" id="{5C1F215F-8371-2105-D12C-399B26B8035F}"/>
              </a:ext>
            </a:extLst>
          </p:cNvPr>
          <p:cNvSpPr/>
          <p:nvPr/>
        </p:nvSpPr>
        <p:spPr>
          <a:xfrm>
            <a:off x="5743490" y="1042850"/>
            <a:ext cx="540163" cy="4676039"/>
          </a:xfrm>
          <a:prstGeom prst="rightBrace">
            <a:avLst>
              <a:gd name="adj1" fmla="val 8333"/>
              <a:gd name="adj2" fmla="val 13363"/>
            </a:avLst>
          </a:prstGeom>
          <a:noFill/>
          <a:ln w="28575" cap="flat" cmpd="sng" algn="ctr">
            <a:solidFill>
              <a:srgbClr val="16B0DB">
                <a:lumMod val="60000"/>
                <a:lumOff val="40000"/>
              </a:srgbClr>
            </a:solidFill>
            <a:prstDash val="solid"/>
          </a:ln>
          <a:effectLst/>
        </p:spPr>
        <p:txBody>
          <a:bodyPr rtlCol="0" anchor="ctr"/>
          <a:lstStyle/>
          <a:p>
            <a:pPr marL="0" marR="0" lvl="0" indent="0" algn="ctr" defTabSz="1350020" eaLnBrk="1" fontAlgn="auto" latinLnBrk="0" hangingPunct="1">
              <a:lnSpc>
                <a:spcPct val="100000"/>
              </a:lnSpc>
              <a:spcBef>
                <a:spcPts val="0"/>
              </a:spcBef>
              <a:spcAft>
                <a:spcPts val="0"/>
              </a:spcAft>
              <a:buClrTx/>
              <a:buSzTx/>
              <a:buFontTx/>
              <a:buNone/>
              <a:tabLst/>
              <a:defRPr/>
            </a:pPr>
            <a:endPar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79" name="Right Brace 78">
            <a:extLst>
              <a:ext uri="{FF2B5EF4-FFF2-40B4-BE49-F238E27FC236}">
                <a16:creationId xmlns:a16="http://schemas.microsoft.com/office/drawing/2014/main" id="{C831B022-7B0F-553E-5DA0-79B5B5370CA1}"/>
              </a:ext>
            </a:extLst>
          </p:cNvPr>
          <p:cNvSpPr/>
          <p:nvPr/>
        </p:nvSpPr>
        <p:spPr>
          <a:xfrm flipH="1">
            <a:off x="11717009" y="1069700"/>
            <a:ext cx="540163" cy="5253990"/>
          </a:xfrm>
          <a:prstGeom prst="rightBrace">
            <a:avLst>
              <a:gd name="adj1" fmla="val 8333"/>
              <a:gd name="adj2" fmla="val 13894"/>
            </a:avLst>
          </a:prstGeom>
          <a:noFill/>
          <a:ln w="28575" cap="flat" cmpd="sng" algn="ctr">
            <a:solidFill>
              <a:srgbClr val="FFCC00">
                <a:lumMod val="60000"/>
                <a:lumOff val="40000"/>
              </a:srgbClr>
            </a:solidFill>
            <a:prstDash val="solid"/>
          </a:ln>
          <a:effectLst/>
        </p:spPr>
        <p:txBody>
          <a:bodyPr rtlCol="0" anchor="ctr"/>
          <a:lstStyle/>
          <a:p>
            <a:pPr marL="0" marR="0" lvl="0" indent="0" algn="ctr" defTabSz="1350020" eaLnBrk="1" fontAlgn="auto" latinLnBrk="0" hangingPunct="1">
              <a:lnSpc>
                <a:spcPct val="100000"/>
              </a:lnSpc>
              <a:spcBef>
                <a:spcPts val="0"/>
              </a:spcBef>
              <a:spcAft>
                <a:spcPts val="0"/>
              </a:spcAft>
              <a:buClrTx/>
              <a:buSzTx/>
              <a:buFontTx/>
              <a:buNone/>
              <a:tabLst/>
              <a:defRPr/>
            </a:pPr>
            <a:endParaRPr kumimoji="0" lang="en-GB" sz="394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80" name="Right Brace 79">
            <a:extLst>
              <a:ext uri="{FF2B5EF4-FFF2-40B4-BE49-F238E27FC236}">
                <a16:creationId xmlns:a16="http://schemas.microsoft.com/office/drawing/2014/main" id="{51ADA9C7-C3F3-D47F-F63C-9AA0ABA71631}"/>
              </a:ext>
            </a:extLst>
          </p:cNvPr>
          <p:cNvSpPr/>
          <p:nvPr/>
        </p:nvSpPr>
        <p:spPr>
          <a:xfrm>
            <a:off x="5424295" y="6421099"/>
            <a:ext cx="540163" cy="3009928"/>
          </a:xfrm>
          <a:prstGeom prst="rightBrace">
            <a:avLst>
              <a:gd name="adj1" fmla="val 8333"/>
              <a:gd name="adj2" fmla="val 24068"/>
            </a:avLst>
          </a:prstGeom>
          <a:noFill/>
          <a:ln w="28575" cap="flat" cmpd="sng" algn="ctr">
            <a:solidFill>
              <a:schemeClr val="accent2">
                <a:lumMod val="60000"/>
                <a:lumOff val="40000"/>
              </a:schemeClr>
            </a:solidFill>
            <a:prstDash val="solid"/>
          </a:ln>
          <a:effectLst/>
        </p:spPr>
        <p:txBody>
          <a:bodyPr rtlCol="0" anchor="ctr"/>
          <a:lstStyle/>
          <a:p>
            <a:pPr algn="ctr" defTabSz="1350020"/>
            <a:endParaRPr lang="en-GB" sz="3942" kern="0">
              <a:latin typeface="Segoe UI Light" panose="020B0502040204020203" pitchFamily="34" charset="0"/>
              <a:cs typeface="Segoe UI Light" panose="020B0502040204020203" pitchFamily="34" charset="0"/>
            </a:endParaRPr>
          </a:p>
        </p:txBody>
      </p:sp>
      <p:sp>
        <p:nvSpPr>
          <p:cNvPr id="81" name="Rectangle: Rounded Corners 80">
            <a:extLst>
              <a:ext uri="{FF2B5EF4-FFF2-40B4-BE49-F238E27FC236}">
                <a16:creationId xmlns:a16="http://schemas.microsoft.com/office/drawing/2014/main" id="{FB18FB8C-70E3-2117-D3AD-A88E1B124550}"/>
              </a:ext>
            </a:extLst>
          </p:cNvPr>
          <p:cNvSpPr/>
          <p:nvPr/>
        </p:nvSpPr>
        <p:spPr>
          <a:xfrm>
            <a:off x="4057039" y="1021411"/>
            <a:ext cx="1594547" cy="696285"/>
          </a:xfrm>
          <a:prstGeom prst="roundRect">
            <a:avLst/>
          </a:prstGeom>
          <a:noFill/>
          <a:ln w="25400" cap="flat" cmpd="sng" algn="ctr">
            <a:solidFill>
              <a:srgbClr val="16B0DB">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Identity</a:t>
            </a:r>
          </a:p>
        </p:txBody>
      </p:sp>
      <p:sp>
        <p:nvSpPr>
          <p:cNvPr id="82" name="Rectangle: Rounded Corners 81">
            <a:extLst>
              <a:ext uri="{FF2B5EF4-FFF2-40B4-BE49-F238E27FC236}">
                <a16:creationId xmlns:a16="http://schemas.microsoft.com/office/drawing/2014/main" id="{2176E263-00BA-CBD8-3B2A-529F3346184B}"/>
              </a:ext>
            </a:extLst>
          </p:cNvPr>
          <p:cNvSpPr/>
          <p:nvPr/>
        </p:nvSpPr>
        <p:spPr>
          <a:xfrm>
            <a:off x="4057039" y="1923121"/>
            <a:ext cx="1594547" cy="409235"/>
          </a:xfrm>
          <a:prstGeom prst="roundRect">
            <a:avLst/>
          </a:prstGeom>
          <a:noFill/>
          <a:ln w="25400" cap="flat" cmpd="sng" algn="ctr">
            <a:solidFill>
              <a:srgbClr val="16B0DB">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Aesthetics</a:t>
            </a:r>
          </a:p>
        </p:txBody>
      </p:sp>
      <p:sp>
        <p:nvSpPr>
          <p:cNvPr id="83" name="Rectangle: Rounded Corners 82">
            <a:extLst>
              <a:ext uri="{FF2B5EF4-FFF2-40B4-BE49-F238E27FC236}">
                <a16:creationId xmlns:a16="http://schemas.microsoft.com/office/drawing/2014/main" id="{11AC053B-622E-3CF2-6512-F511FF048A1B}"/>
              </a:ext>
            </a:extLst>
          </p:cNvPr>
          <p:cNvSpPr/>
          <p:nvPr/>
        </p:nvSpPr>
        <p:spPr>
          <a:xfrm>
            <a:off x="4057039" y="2537784"/>
            <a:ext cx="1594547" cy="690647"/>
          </a:xfrm>
          <a:prstGeom prst="roundRect">
            <a:avLst/>
          </a:prstGeom>
          <a:noFill/>
          <a:ln w="25400" cap="flat" cmpd="sng" algn="ctr">
            <a:solidFill>
              <a:srgbClr val="16B0DB">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Spirituality</a:t>
            </a:r>
          </a:p>
        </p:txBody>
      </p:sp>
      <p:sp>
        <p:nvSpPr>
          <p:cNvPr id="84" name="Rectangle: Rounded Corners 83">
            <a:extLst>
              <a:ext uri="{FF2B5EF4-FFF2-40B4-BE49-F238E27FC236}">
                <a16:creationId xmlns:a16="http://schemas.microsoft.com/office/drawing/2014/main" id="{76F304F3-96A0-422B-3029-FDFEF86C2402}"/>
              </a:ext>
            </a:extLst>
          </p:cNvPr>
          <p:cNvSpPr/>
          <p:nvPr/>
        </p:nvSpPr>
        <p:spPr>
          <a:xfrm>
            <a:off x="4083802" y="3418924"/>
            <a:ext cx="1594547" cy="696285"/>
          </a:xfrm>
          <a:prstGeom prst="roundRect">
            <a:avLst/>
          </a:prstGeom>
          <a:noFill/>
          <a:ln w="25400" cap="flat" cmpd="sng" algn="ctr">
            <a:solidFill>
              <a:srgbClr val="16B0DB">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Recreation</a:t>
            </a:r>
          </a:p>
        </p:txBody>
      </p:sp>
      <p:sp>
        <p:nvSpPr>
          <p:cNvPr id="85" name="Rectangle: Rounded Corners 84">
            <a:extLst>
              <a:ext uri="{FF2B5EF4-FFF2-40B4-BE49-F238E27FC236}">
                <a16:creationId xmlns:a16="http://schemas.microsoft.com/office/drawing/2014/main" id="{E5E8BBC7-6ADE-A6CC-712F-9CC1B3D6463C}"/>
              </a:ext>
            </a:extLst>
          </p:cNvPr>
          <p:cNvSpPr/>
          <p:nvPr/>
        </p:nvSpPr>
        <p:spPr>
          <a:xfrm>
            <a:off x="12342190" y="1042292"/>
            <a:ext cx="1835204" cy="696285"/>
          </a:xfrm>
          <a:prstGeom prst="roundRect">
            <a:avLst/>
          </a:prstGeom>
          <a:noFill/>
          <a:ln w="25400" cap="flat" cmpd="sng" algn="ctr">
            <a:solidFill>
              <a:srgbClr val="FFCC00">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Development</a:t>
            </a:r>
          </a:p>
        </p:txBody>
      </p:sp>
      <p:sp>
        <p:nvSpPr>
          <p:cNvPr id="86" name="Rectangle: Rounded Corners 85">
            <a:extLst>
              <a:ext uri="{FF2B5EF4-FFF2-40B4-BE49-F238E27FC236}">
                <a16:creationId xmlns:a16="http://schemas.microsoft.com/office/drawing/2014/main" id="{B4D80D4B-467E-9A43-9460-3229EEDE5A91}"/>
              </a:ext>
            </a:extLst>
          </p:cNvPr>
          <p:cNvSpPr/>
          <p:nvPr/>
        </p:nvSpPr>
        <p:spPr>
          <a:xfrm>
            <a:off x="12342190" y="1912547"/>
            <a:ext cx="1835204" cy="696285"/>
          </a:xfrm>
          <a:prstGeom prst="roundRect">
            <a:avLst/>
          </a:prstGeom>
          <a:noFill/>
          <a:ln w="25400" cap="flat" cmpd="sng" algn="ctr">
            <a:solidFill>
              <a:srgbClr val="FFCC00">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Agriculture</a:t>
            </a:r>
          </a:p>
        </p:txBody>
      </p:sp>
      <p:sp>
        <p:nvSpPr>
          <p:cNvPr id="87" name="Rectangle: Rounded Corners 86">
            <a:extLst>
              <a:ext uri="{FF2B5EF4-FFF2-40B4-BE49-F238E27FC236}">
                <a16:creationId xmlns:a16="http://schemas.microsoft.com/office/drawing/2014/main" id="{4B3E1462-6A37-9B9F-9F1D-A6872A008718}"/>
              </a:ext>
            </a:extLst>
          </p:cNvPr>
          <p:cNvSpPr/>
          <p:nvPr/>
        </p:nvSpPr>
        <p:spPr>
          <a:xfrm>
            <a:off x="12342190" y="3653057"/>
            <a:ext cx="1835204" cy="956728"/>
          </a:xfrm>
          <a:prstGeom prst="roundRect">
            <a:avLst/>
          </a:prstGeom>
          <a:noFill/>
          <a:ln w="25400" cap="flat" cmpd="sng" algn="ctr">
            <a:solidFill>
              <a:srgbClr val="FFCC00">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Energy</a:t>
            </a:r>
          </a:p>
        </p:txBody>
      </p:sp>
      <p:sp>
        <p:nvSpPr>
          <p:cNvPr id="88" name="Rectangle: Rounded Corners 87">
            <a:extLst>
              <a:ext uri="{FF2B5EF4-FFF2-40B4-BE49-F238E27FC236}">
                <a16:creationId xmlns:a16="http://schemas.microsoft.com/office/drawing/2014/main" id="{BBEC990D-6E1E-9DFB-66DA-0D6B288F78BA}"/>
              </a:ext>
            </a:extLst>
          </p:cNvPr>
          <p:cNvSpPr/>
          <p:nvPr/>
        </p:nvSpPr>
        <p:spPr>
          <a:xfrm>
            <a:off x="12342190" y="4783755"/>
            <a:ext cx="1835204" cy="956728"/>
          </a:xfrm>
          <a:prstGeom prst="roundRect">
            <a:avLst/>
          </a:prstGeom>
          <a:noFill/>
          <a:ln w="25400" cap="flat" cmpd="sng" algn="ctr">
            <a:solidFill>
              <a:srgbClr val="FFCC00">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Livelihood</a:t>
            </a:r>
          </a:p>
        </p:txBody>
      </p:sp>
      <p:sp>
        <p:nvSpPr>
          <p:cNvPr id="89" name="Rectangle: Rounded Corners 88">
            <a:extLst>
              <a:ext uri="{FF2B5EF4-FFF2-40B4-BE49-F238E27FC236}">
                <a16:creationId xmlns:a16="http://schemas.microsoft.com/office/drawing/2014/main" id="{C571B0C6-D9DC-37C5-41A0-4527257A999D}"/>
              </a:ext>
            </a:extLst>
          </p:cNvPr>
          <p:cNvSpPr/>
          <p:nvPr/>
        </p:nvSpPr>
        <p:spPr>
          <a:xfrm>
            <a:off x="4063975" y="6421099"/>
            <a:ext cx="1206623" cy="690970"/>
          </a:xfrm>
          <a:prstGeom prst="roundRect">
            <a:avLst/>
          </a:prstGeom>
          <a:noFill/>
          <a:ln w="25400" cap="flat" cmpd="sng" algn="ctr">
            <a:solidFill>
              <a:schemeClr val="accent2">
                <a:lumMod val="60000"/>
                <a:lumOff val="40000"/>
              </a:schemeClr>
            </a:solidFill>
            <a:prstDash val="solid"/>
          </a:ln>
          <a:effectLst/>
        </p:spPr>
        <p:txBody>
          <a:bodyPr rtlCol="0" anchor="ctr"/>
          <a:lstStyle/>
          <a:p>
            <a:pPr defTabSz="1350020"/>
            <a:r>
              <a:rPr lang="en-GB" sz="1772" b="1" kern="0">
                <a:latin typeface="Segoe UI Light" panose="020B0502040204020203" pitchFamily="34" charset="0"/>
                <a:cs typeface="Segoe UI Light" panose="020B0502040204020203" pitchFamily="34" charset="0"/>
              </a:rPr>
              <a:t>Drinking</a:t>
            </a:r>
          </a:p>
        </p:txBody>
      </p:sp>
      <p:sp>
        <p:nvSpPr>
          <p:cNvPr id="90" name="Rectangle: Rounded Corners 89">
            <a:extLst>
              <a:ext uri="{FF2B5EF4-FFF2-40B4-BE49-F238E27FC236}">
                <a16:creationId xmlns:a16="http://schemas.microsoft.com/office/drawing/2014/main" id="{4140A5B8-2B2F-65FC-3B7F-B3AAFECF95FA}"/>
              </a:ext>
            </a:extLst>
          </p:cNvPr>
          <p:cNvSpPr/>
          <p:nvPr/>
        </p:nvSpPr>
        <p:spPr>
          <a:xfrm>
            <a:off x="4063975" y="7280954"/>
            <a:ext cx="1206623" cy="692863"/>
          </a:xfrm>
          <a:prstGeom prst="roundRect">
            <a:avLst/>
          </a:prstGeom>
          <a:noFill/>
          <a:ln w="25400" cap="flat" cmpd="sng" algn="ctr">
            <a:solidFill>
              <a:schemeClr val="accent2">
                <a:lumMod val="60000"/>
                <a:lumOff val="40000"/>
              </a:schemeClr>
            </a:solidFill>
            <a:prstDash val="solid"/>
          </a:ln>
          <a:effectLst/>
        </p:spPr>
        <p:txBody>
          <a:bodyPr rtlCol="0" anchor="ctr"/>
          <a:lstStyle/>
          <a:p>
            <a:pPr defTabSz="1350020"/>
            <a:r>
              <a:rPr lang="en-GB" sz="1772" b="1" kern="0">
                <a:latin typeface="Segoe UI Light" panose="020B0502040204020203" pitchFamily="34" charset="0"/>
                <a:cs typeface="Segoe UI Light" panose="020B0502040204020203" pitchFamily="34" charset="0"/>
              </a:rPr>
              <a:t>WASH</a:t>
            </a:r>
          </a:p>
        </p:txBody>
      </p:sp>
      <p:sp>
        <p:nvSpPr>
          <p:cNvPr id="91" name="Rectangle: Rounded Corners 90">
            <a:extLst>
              <a:ext uri="{FF2B5EF4-FFF2-40B4-BE49-F238E27FC236}">
                <a16:creationId xmlns:a16="http://schemas.microsoft.com/office/drawing/2014/main" id="{E9854C9D-B469-46E7-1E91-907C629520F2}"/>
              </a:ext>
            </a:extLst>
          </p:cNvPr>
          <p:cNvSpPr/>
          <p:nvPr/>
        </p:nvSpPr>
        <p:spPr>
          <a:xfrm>
            <a:off x="10047715" y="7164242"/>
            <a:ext cx="1966608" cy="690970"/>
          </a:xfrm>
          <a:prstGeom prst="roundRect">
            <a:avLst/>
          </a:prstGeom>
          <a:solidFill>
            <a:srgbClr val="66BE45">
              <a:lumMod val="60000"/>
              <a:lumOff val="40000"/>
            </a:srgbClr>
          </a:solidFill>
          <a:ln w="25400" cap="flat" cmpd="sng" algn="ctr">
            <a:solidFill>
              <a:srgbClr val="66BE45">
                <a:lumMod val="60000"/>
                <a:lumOff val="40000"/>
              </a:srgbClr>
            </a:solidFill>
            <a:prstDash val="solid"/>
          </a:ln>
          <a:effectLst/>
        </p:spPr>
        <p:txBody>
          <a:bodyPr rtlCol="0" anchor="ctr"/>
          <a:lstStyle/>
          <a:p>
            <a:pPr algn="ctr" defTabSz="1350020"/>
            <a:r>
              <a:rPr lang="en-GB" sz="1772" b="1" kern="0">
                <a:latin typeface="Segoe UI Light" panose="020B0502040204020203" pitchFamily="34" charset="0"/>
                <a:cs typeface="Segoe UI Light" panose="020B0502040204020203" pitchFamily="34" charset="0"/>
              </a:rPr>
              <a:t>Environmental values</a:t>
            </a:r>
          </a:p>
        </p:txBody>
      </p:sp>
      <p:sp>
        <p:nvSpPr>
          <p:cNvPr id="92" name="Rectangle: Rounded Corners 91">
            <a:extLst>
              <a:ext uri="{FF2B5EF4-FFF2-40B4-BE49-F238E27FC236}">
                <a16:creationId xmlns:a16="http://schemas.microsoft.com/office/drawing/2014/main" id="{A6F18743-4D2C-32E2-1A82-B855F54053F7}"/>
              </a:ext>
            </a:extLst>
          </p:cNvPr>
          <p:cNvSpPr/>
          <p:nvPr/>
        </p:nvSpPr>
        <p:spPr>
          <a:xfrm>
            <a:off x="14050720" y="6771081"/>
            <a:ext cx="3517089" cy="696285"/>
          </a:xfrm>
          <a:prstGeom prst="roundRect">
            <a:avLst/>
          </a:prstGeom>
          <a:noFill/>
          <a:ln w="25400" cap="flat" cmpd="sng" algn="ctr">
            <a:solidFill>
              <a:srgbClr val="66BE45">
                <a:lumMod val="60000"/>
                <a:lumOff val="40000"/>
              </a:srgbClr>
            </a:solidFill>
            <a:prstDash val="solid"/>
          </a:ln>
          <a:effectLst/>
        </p:spPr>
        <p:txBody>
          <a:bodyPr rtlCol="0" anchor="ctr"/>
          <a:lstStyle/>
          <a:p>
            <a:pPr defTabSz="1350020"/>
            <a:r>
              <a:rPr lang="en-GB" sz="1772" kern="0">
                <a:latin typeface="Segoe UI Light" panose="020B0502040204020203" pitchFamily="34" charset="0"/>
                <a:cs typeface="Segoe UI Light" panose="020B0502040204020203" pitchFamily="34" charset="0"/>
              </a:rPr>
              <a:t>“Water helps support natural environments”</a:t>
            </a:r>
          </a:p>
        </p:txBody>
      </p:sp>
      <p:sp>
        <p:nvSpPr>
          <p:cNvPr id="93" name="Rectangle: Rounded Corners 92">
            <a:extLst>
              <a:ext uri="{FF2B5EF4-FFF2-40B4-BE49-F238E27FC236}">
                <a16:creationId xmlns:a16="http://schemas.microsoft.com/office/drawing/2014/main" id="{B1D8DA60-B325-5D37-14FE-AC932541CD22}"/>
              </a:ext>
            </a:extLst>
          </p:cNvPr>
          <p:cNvSpPr/>
          <p:nvPr/>
        </p:nvSpPr>
        <p:spPr>
          <a:xfrm>
            <a:off x="14049765" y="7652488"/>
            <a:ext cx="3517089" cy="696285"/>
          </a:xfrm>
          <a:prstGeom prst="roundRect">
            <a:avLst/>
          </a:prstGeom>
          <a:noFill/>
          <a:ln w="25400" cap="flat" cmpd="sng" algn="ctr">
            <a:solidFill>
              <a:srgbClr val="66BE45">
                <a:lumMod val="60000"/>
                <a:lumOff val="40000"/>
              </a:srgbClr>
            </a:solidFill>
            <a:prstDash val="solid"/>
          </a:ln>
          <a:effectLst/>
        </p:spPr>
        <p:txBody>
          <a:bodyPr rtlCol="0" anchor="ctr"/>
          <a:lstStyle/>
          <a:p>
            <a:pPr defTabSz="1350020"/>
            <a:r>
              <a:rPr lang="en-GB" sz="1772" kern="0">
                <a:latin typeface="Segoe UI Light" panose="020B0502040204020203" pitchFamily="34" charset="0"/>
                <a:cs typeface="Segoe UI Light" panose="020B0502040204020203" pitchFamily="34" charset="0"/>
              </a:rPr>
              <a:t>“Water provides a habitat for aquatic animals and plants”</a:t>
            </a:r>
          </a:p>
        </p:txBody>
      </p:sp>
      <p:sp>
        <p:nvSpPr>
          <p:cNvPr id="94" name="Rectangle: Rounded Corners 93">
            <a:extLst>
              <a:ext uri="{FF2B5EF4-FFF2-40B4-BE49-F238E27FC236}">
                <a16:creationId xmlns:a16="http://schemas.microsoft.com/office/drawing/2014/main" id="{DEC13FBB-7807-D8DE-C3FA-CA6B2F528CD1}"/>
              </a:ext>
            </a:extLst>
          </p:cNvPr>
          <p:cNvSpPr/>
          <p:nvPr/>
        </p:nvSpPr>
        <p:spPr>
          <a:xfrm>
            <a:off x="12556945" y="6771081"/>
            <a:ext cx="1399550" cy="690970"/>
          </a:xfrm>
          <a:prstGeom prst="roundRect">
            <a:avLst/>
          </a:prstGeom>
          <a:noFill/>
          <a:ln w="25400" cap="flat" cmpd="sng" algn="ctr">
            <a:solidFill>
              <a:srgbClr val="66BE45">
                <a:lumMod val="60000"/>
                <a:lumOff val="40000"/>
              </a:srgbClr>
            </a:solidFill>
            <a:prstDash val="solid"/>
          </a:ln>
          <a:effectLst/>
        </p:spPr>
        <p:txBody>
          <a:bodyPr rtlCol="0" anchor="ctr"/>
          <a:lstStyle/>
          <a:p>
            <a:pPr defTabSz="1350020"/>
            <a:r>
              <a:rPr lang="en-GB" sz="1772" b="1" kern="0">
                <a:latin typeface="Segoe UI Light" panose="020B0502040204020203" pitchFamily="34" charset="0"/>
                <a:cs typeface="Segoe UI Light" panose="020B0502040204020203" pitchFamily="34" charset="0"/>
              </a:rPr>
              <a:t>Nature</a:t>
            </a:r>
          </a:p>
        </p:txBody>
      </p:sp>
      <p:sp>
        <p:nvSpPr>
          <p:cNvPr id="95" name="Rectangle: Rounded Corners 94">
            <a:extLst>
              <a:ext uri="{FF2B5EF4-FFF2-40B4-BE49-F238E27FC236}">
                <a16:creationId xmlns:a16="http://schemas.microsoft.com/office/drawing/2014/main" id="{54C0F31D-8D77-DE06-99D6-6E8FA805DD59}"/>
              </a:ext>
            </a:extLst>
          </p:cNvPr>
          <p:cNvSpPr/>
          <p:nvPr/>
        </p:nvSpPr>
        <p:spPr>
          <a:xfrm>
            <a:off x="12556945" y="7643155"/>
            <a:ext cx="1399550" cy="692863"/>
          </a:xfrm>
          <a:prstGeom prst="roundRect">
            <a:avLst/>
          </a:prstGeom>
          <a:noFill/>
          <a:ln w="25400" cap="flat" cmpd="sng" algn="ctr">
            <a:solidFill>
              <a:srgbClr val="66BE45">
                <a:lumMod val="60000"/>
                <a:lumOff val="40000"/>
              </a:srgbClr>
            </a:solidFill>
            <a:prstDash val="solid"/>
          </a:ln>
          <a:effectLst/>
        </p:spPr>
        <p:txBody>
          <a:bodyPr rtlCol="0" anchor="ctr"/>
          <a:lstStyle/>
          <a:p>
            <a:pPr defTabSz="1350020"/>
            <a:r>
              <a:rPr lang="en-GB" sz="1772" b="1" kern="0">
                <a:latin typeface="Segoe UI Light" panose="020B0502040204020203" pitchFamily="34" charset="0"/>
                <a:cs typeface="Segoe UI Light" panose="020B0502040204020203" pitchFamily="34" charset="0"/>
              </a:rPr>
              <a:t>Habitat</a:t>
            </a:r>
          </a:p>
        </p:txBody>
      </p:sp>
      <p:sp>
        <p:nvSpPr>
          <p:cNvPr id="96" name="Right Brace 95">
            <a:extLst>
              <a:ext uri="{FF2B5EF4-FFF2-40B4-BE49-F238E27FC236}">
                <a16:creationId xmlns:a16="http://schemas.microsoft.com/office/drawing/2014/main" id="{BEF6F416-8141-396B-8205-C25D0D38489E}"/>
              </a:ext>
            </a:extLst>
          </p:cNvPr>
          <p:cNvSpPr/>
          <p:nvPr/>
        </p:nvSpPr>
        <p:spPr>
          <a:xfrm rot="10800000">
            <a:off x="12038656" y="6590609"/>
            <a:ext cx="461066" cy="2877936"/>
          </a:xfrm>
          <a:prstGeom prst="rightBrace">
            <a:avLst>
              <a:gd name="adj1" fmla="val 8333"/>
              <a:gd name="adj2" fmla="val 67710"/>
            </a:avLst>
          </a:prstGeom>
          <a:noFill/>
          <a:ln w="28575" cap="flat" cmpd="sng" algn="ctr">
            <a:solidFill>
              <a:srgbClr val="66BE45">
                <a:lumMod val="60000"/>
                <a:lumOff val="40000"/>
              </a:srgbClr>
            </a:solidFill>
            <a:prstDash val="solid"/>
          </a:ln>
          <a:effectLst/>
        </p:spPr>
        <p:txBody>
          <a:bodyPr rtlCol="0" anchor="ctr"/>
          <a:lstStyle/>
          <a:p>
            <a:pPr algn="ctr" defTabSz="1350020"/>
            <a:endParaRPr lang="en-GB" sz="3942" kern="0">
              <a:latin typeface="Segoe UI Light" panose="020B0502040204020203" pitchFamily="34" charset="0"/>
              <a:cs typeface="Segoe UI Light" panose="020B0502040204020203" pitchFamily="34" charset="0"/>
            </a:endParaRPr>
          </a:p>
        </p:txBody>
      </p:sp>
      <p:sp>
        <p:nvSpPr>
          <p:cNvPr id="97" name="Rectangle: Rounded Corners 96">
            <a:extLst>
              <a:ext uri="{FF2B5EF4-FFF2-40B4-BE49-F238E27FC236}">
                <a16:creationId xmlns:a16="http://schemas.microsoft.com/office/drawing/2014/main" id="{D92DB4FA-D5AB-A169-A85A-6CC62B5AAC6C}"/>
              </a:ext>
            </a:extLst>
          </p:cNvPr>
          <p:cNvSpPr/>
          <p:nvPr/>
        </p:nvSpPr>
        <p:spPr>
          <a:xfrm>
            <a:off x="460142" y="4292331"/>
            <a:ext cx="3535168" cy="696285"/>
          </a:xfrm>
          <a:prstGeom prst="roundRect">
            <a:avLst/>
          </a:prstGeom>
          <a:noFill/>
          <a:ln w="25400" cap="flat" cmpd="sng" algn="ctr">
            <a:solidFill>
              <a:srgbClr val="16B0DB">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Water is a means of transportation”</a:t>
            </a:r>
          </a:p>
        </p:txBody>
      </p:sp>
      <p:sp>
        <p:nvSpPr>
          <p:cNvPr id="98" name="Rectangle: Rounded Corners 97">
            <a:extLst>
              <a:ext uri="{FF2B5EF4-FFF2-40B4-BE49-F238E27FC236}">
                <a16:creationId xmlns:a16="http://schemas.microsoft.com/office/drawing/2014/main" id="{0FDAF7D0-2B59-D3C8-560F-A670FB98460C}"/>
              </a:ext>
            </a:extLst>
          </p:cNvPr>
          <p:cNvSpPr/>
          <p:nvPr/>
        </p:nvSpPr>
        <p:spPr>
          <a:xfrm>
            <a:off x="4087208" y="4297970"/>
            <a:ext cx="1594547" cy="696285"/>
          </a:xfrm>
          <a:prstGeom prst="roundRect">
            <a:avLst/>
          </a:prstGeom>
          <a:noFill/>
          <a:ln w="25400" cap="flat" cmpd="sng" algn="ctr">
            <a:solidFill>
              <a:srgbClr val="16B0DB">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Transport</a:t>
            </a:r>
          </a:p>
        </p:txBody>
      </p:sp>
      <p:sp>
        <p:nvSpPr>
          <p:cNvPr id="99" name="Rectangle: Rounded Corners 98">
            <a:extLst>
              <a:ext uri="{FF2B5EF4-FFF2-40B4-BE49-F238E27FC236}">
                <a16:creationId xmlns:a16="http://schemas.microsoft.com/office/drawing/2014/main" id="{73A1776C-01CC-21FE-44B3-52E00BF15C0F}"/>
              </a:ext>
            </a:extLst>
          </p:cNvPr>
          <p:cNvSpPr/>
          <p:nvPr/>
        </p:nvSpPr>
        <p:spPr>
          <a:xfrm>
            <a:off x="14262409" y="2784089"/>
            <a:ext cx="3274882" cy="696285"/>
          </a:xfrm>
          <a:prstGeom prst="roundRect">
            <a:avLst/>
          </a:prstGeom>
          <a:noFill/>
          <a:ln w="25400" cap="flat" cmpd="sng" algn="ctr">
            <a:solidFill>
              <a:srgbClr val="FFCC00">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Water is the basis for industrial production”</a:t>
            </a:r>
          </a:p>
        </p:txBody>
      </p:sp>
      <p:sp>
        <p:nvSpPr>
          <p:cNvPr id="100" name="Rectangle: Rounded Corners 99">
            <a:extLst>
              <a:ext uri="{FF2B5EF4-FFF2-40B4-BE49-F238E27FC236}">
                <a16:creationId xmlns:a16="http://schemas.microsoft.com/office/drawing/2014/main" id="{75435676-EAD1-9A9C-85D2-C04F2A073464}"/>
              </a:ext>
            </a:extLst>
          </p:cNvPr>
          <p:cNvSpPr/>
          <p:nvPr/>
        </p:nvSpPr>
        <p:spPr>
          <a:xfrm>
            <a:off x="12342190" y="2782802"/>
            <a:ext cx="1835204" cy="696285"/>
          </a:xfrm>
          <a:prstGeom prst="roundRect">
            <a:avLst/>
          </a:prstGeom>
          <a:noFill/>
          <a:ln w="25400" cap="flat" cmpd="sng" algn="ctr">
            <a:solidFill>
              <a:srgbClr val="FFCC00">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Industry</a:t>
            </a:r>
          </a:p>
        </p:txBody>
      </p:sp>
      <p:sp>
        <p:nvSpPr>
          <p:cNvPr id="105" name="Rectangle: Rounded Corners 104">
            <a:extLst>
              <a:ext uri="{FF2B5EF4-FFF2-40B4-BE49-F238E27FC236}">
                <a16:creationId xmlns:a16="http://schemas.microsoft.com/office/drawing/2014/main" id="{5CE376B9-D6A4-1ED1-BEA0-CC6D99B61D56}"/>
              </a:ext>
            </a:extLst>
          </p:cNvPr>
          <p:cNvSpPr/>
          <p:nvPr/>
        </p:nvSpPr>
        <p:spPr>
          <a:xfrm>
            <a:off x="451880" y="5180453"/>
            <a:ext cx="3535168" cy="409235"/>
          </a:xfrm>
          <a:prstGeom prst="roundRect">
            <a:avLst/>
          </a:prstGeom>
          <a:noFill/>
          <a:ln w="25400" cap="flat" cmpd="sng" algn="ctr">
            <a:solidFill>
              <a:srgbClr val="16B0DB">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a:t>
            </a:r>
          </a:p>
        </p:txBody>
      </p:sp>
      <p:sp>
        <p:nvSpPr>
          <p:cNvPr id="106" name="Rectangle: Rounded Corners 105">
            <a:extLst>
              <a:ext uri="{FF2B5EF4-FFF2-40B4-BE49-F238E27FC236}">
                <a16:creationId xmlns:a16="http://schemas.microsoft.com/office/drawing/2014/main" id="{E715C730-A536-106D-36FC-37F73FE001AF}"/>
              </a:ext>
            </a:extLst>
          </p:cNvPr>
          <p:cNvSpPr/>
          <p:nvPr/>
        </p:nvSpPr>
        <p:spPr>
          <a:xfrm>
            <a:off x="4078946" y="5186092"/>
            <a:ext cx="1594547" cy="409235"/>
          </a:xfrm>
          <a:prstGeom prst="roundRect">
            <a:avLst/>
          </a:prstGeom>
          <a:noFill/>
          <a:ln w="25400" cap="flat" cmpd="sng" algn="ctr">
            <a:solidFill>
              <a:srgbClr val="16B0DB">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a:t>
            </a:r>
          </a:p>
        </p:txBody>
      </p:sp>
      <p:sp>
        <p:nvSpPr>
          <p:cNvPr id="107" name="Rectangle: Rounded Corners 106">
            <a:extLst>
              <a:ext uri="{FF2B5EF4-FFF2-40B4-BE49-F238E27FC236}">
                <a16:creationId xmlns:a16="http://schemas.microsoft.com/office/drawing/2014/main" id="{6FE9D371-91A5-732C-F113-789754C50D6A}"/>
              </a:ext>
            </a:extLst>
          </p:cNvPr>
          <p:cNvSpPr/>
          <p:nvPr/>
        </p:nvSpPr>
        <p:spPr>
          <a:xfrm>
            <a:off x="476469" y="8151633"/>
            <a:ext cx="3517089" cy="694800"/>
          </a:xfrm>
          <a:prstGeom prst="roundRect">
            <a:avLst/>
          </a:prstGeom>
          <a:noFill/>
          <a:ln w="25400" cap="flat" cmpd="sng" algn="ctr">
            <a:solidFill>
              <a:schemeClr val="accent2">
                <a:lumMod val="60000"/>
                <a:lumOff val="40000"/>
              </a:schemeClr>
            </a:solidFill>
            <a:prstDash val="solid"/>
          </a:ln>
          <a:effectLst/>
        </p:spPr>
        <p:txBody>
          <a:bodyPr rtlCol="0" anchor="ctr"/>
          <a:lstStyle/>
          <a:p>
            <a:pPr defTabSz="1350020"/>
            <a:r>
              <a:rPr lang="en-GB" sz="1772" kern="0" dirty="0">
                <a:latin typeface="Segoe UI Light" panose="020B0502040204020203" pitchFamily="34" charset="0"/>
                <a:cs typeface="Segoe UI Light" panose="020B0502040204020203" pitchFamily="34" charset="0"/>
              </a:rPr>
              <a:t>“Water has medicinal or healing power”</a:t>
            </a:r>
          </a:p>
        </p:txBody>
      </p:sp>
      <p:sp>
        <p:nvSpPr>
          <p:cNvPr id="108" name="Rectangle: Rounded Corners 107">
            <a:extLst>
              <a:ext uri="{FF2B5EF4-FFF2-40B4-BE49-F238E27FC236}">
                <a16:creationId xmlns:a16="http://schemas.microsoft.com/office/drawing/2014/main" id="{344E3A27-780A-1168-25F1-686D10B6DC09}"/>
              </a:ext>
            </a:extLst>
          </p:cNvPr>
          <p:cNvSpPr/>
          <p:nvPr/>
        </p:nvSpPr>
        <p:spPr>
          <a:xfrm>
            <a:off x="4082054" y="8153338"/>
            <a:ext cx="1206623" cy="694800"/>
          </a:xfrm>
          <a:prstGeom prst="roundRect">
            <a:avLst/>
          </a:prstGeom>
          <a:noFill/>
          <a:ln w="25400" cap="flat" cmpd="sng" algn="ctr">
            <a:solidFill>
              <a:schemeClr val="accent2">
                <a:lumMod val="60000"/>
                <a:lumOff val="40000"/>
              </a:schemeClr>
            </a:solidFill>
            <a:prstDash val="solid"/>
          </a:ln>
          <a:effectLst/>
        </p:spPr>
        <p:txBody>
          <a:bodyPr rtlCol="0" anchor="ctr"/>
          <a:lstStyle/>
          <a:p>
            <a:pPr defTabSz="1350020"/>
            <a:r>
              <a:rPr lang="en-GB" sz="1772" b="1" kern="0">
                <a:latin typeface="Segoe UI Light" panose="020B0502040204020203" pitchFamily="34" charset="0"/>
                <a:cs typeface="Segoe UI Light" panose="020B0502040204020203" pitchFamily="34" charset="0"/>
              </a:rPr>
              <a:t>Healing</a:t>
            </a:r>
          </a:p>
        </p:txBody>
      </p:sp>
      <p:sp>
        <p:nvSpPr>
          <p:cNvPr id="109" name="Rectangle: Rounded Corners 108">
            <a:extLst>
              <a:ext uri="{FF2B5EF4-FFF2-40B4-BE49-F238E27FC236}">
                <a16:creationId xmlns:a16="http://schemas.microsoft.com/office/drawing/2014/main" id="{FA56423E-66E1-EE75-9E1A-63DBF651D3C1}"/>
              </a:ext>
            </a:extLst>
          </p:cNvPr>
          <p:cNvSpPr/>
          <p:nvPr/>
        </p:nvSpPr>
        <p:spPr>
          <a:xfrm>
            <a:off x="14267862" y="5915742"/>
            <a:ext cx="3274882" cy="409236"/>
          </a:xfrm>
          <a:prstGeom prst="roundRect">
            <a:avLst/>
          </a:prstGeom>
          <a:noFill/>
          <a:ln w="25400" cap="flat" cmpd="sng" algn="ctr">
            <a:solidFill>
              <a:srgbClr val="FFCC00">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a:t>
            </a:r>
          </a:p>
        </p:txBody>
      </p:sp>
      <p:sp>
        <p:nvSpPr>
          <p:cNvPr id="110" name="Rectangle: Rounded Corners 109">
            <a:extLst>
              <a:ext uri="{FF2B5EF4-FFF2-40B4-BE49-F238E27FC236}">
                <a16:creationId xmlns:a16="http://schemas.microsoft.com/office/drawing/2014/main" id="{6BBFE719-609C-4983-7967-44D197CC6019}"/>
              </a:ext>
            </a:extLst>
          </p:cNvPr>
          <p:cNvSpPr/>
          <p:nvPr/>
        </p:nvSpPr>
        <p:spPr>
          <a:xfrm>
            <a:off x="12347643" y="5914454"/>
            <a:ext cx="1835204" cy="409236"/>
          </a:xfrm>
          <a:prstGeom prst="roundRect">
            <a:avLst/>
          </a:prstGeom>
          <a:noFill/>
          <a:ln w="25400" cap="flat" cmpd="sng" algn="ctr">
            <a:solidFill>
              <a:srgbClr val="FFCC00">
                <a:lumMod val="60000"/>
                <a:lumOff val="4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a:t>
            </a:r>
          </a:p>
        </p:txBody>
      </p:sp>
      <p:sp>
        <p:nvSpPr>
          <p:cNvPr id="3" name="Rectangle: Rounded Corners 2">
            <a:extLst>
              <a:ext uri="{FF2B5EF4-FFF2-40B4-BE49-F238E27FC236}">
                <a16:creationId xmlns:a16="http://schemas.microsoft.com/office/drawing/2014/main" id="{96167E21-C423-56B6-47DB-BEA4110AB18D}"/>
              </a:ext>
            </a:extLst>
          </p:cNvPr>
          <p:cNvSpPr/>
          <p:nvPr/>
        </p:nvSpPr>
        <p:spPr>
          <a:xfrm>
            <a:off x="6331296" y="8740057"/>
            <a:ext cx="1780025" cy="690970"/>
          </a:xfrm>
          <a:prstGeom prst="roundRect">
            <a:avLst/>
          </a:prstGeom>
          <a:solidFill>
            <a:srgbClr val="F2F2F2">
              <a:lumMod val="90000"/>
            </a:srgbClr>
          </a:solidFill>
          <a:ln w="25400" cap="flat" cmpd="sng" algn="ctr">
            <a:solidFill>
              <a:srgbClr val="F2F2F2">
                <a:lumMod val="90000"/>
              </a:srgbClr>
            </a:solidFill>
            <a:prstDash val="solid"/>
          </a:ln>
          <a:effectLst/>
        </p:spPr>
        <p:txBody>
          <a:bodyPr rtlCol="0" anchor="ctr"/>
          <a:lstStyle/>
          <a:p>
            <a:pPr marL="0" marR="0" lvl="0" indent="0" algn="ctr" defTabSz="1350020" eaLnBrk="1" fontAlgn="auto" latinLnBrk="0" hangingPunct="1">
              <a:lnSpc>
                <a:spcPct val="100000"/>
              </a:lnSpc>
              <a:spcBef>
                <a:spcPts val="0"/>
              </a:spcBef>
              <a:spcAft>
                <a:spcPts val="0"/>
              </a:spcAft>
              <a:buClrTx/>
              <a:buSzTx/>
              <a:buFontTx/>
              <a:buNone/>
              <a:tabLst/>
              <a:defRPr/>
            </a:pPr>
            <a:r>
              <a:rPr lang="en-GB" sz="1772" b="1" i="1" kern="0">
                <a:latin typeface="Segoe UI Light" panose="020B0502040204020203" pitchFamily="34" charset="0"/>
                <a:cs typeface="Segoe UI Light" panose="020B0502040204020203" pitchFamily="34" charset="0"/>
              </a:rPr>
              <a:t>Fill out</a:t>
            </a:r>
            <a:endParaRPr kumimoji="0" lang="en-GB" sz="1772" b="1" i="1" u="none" strike="noStrike" kern="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4" name="Rectangle: Rounded Corners 3">
            <a:extLst>
              <a:ext uri="{FF2B5EF4-FFF2-40B4-BE49-F238E27FC236}">
                <a16:creationId xmlns:a16="http://schemas.microsoft.com/office/drawing/2014/main" id="{BC9AC2D5-2DEB-1BC5-672A-CFA4846A2E3F}"/>
              </a:ext>
            </a:extLst>
          </p:cNvPr>
          <p:cNvSpPr/>
          <p:nvPr/>
        </p:nvSpPr>
        <p:spPr>
          <a:xfrm>
            <a:off x="9992402" y="8283941"/>
            <a:ext cx="2079144" cy="696285"/>
          </a:xfrm>
          <a:prstGeom prst="roundRect">
            <a:avLst/>
          </a:prstGeom>
          <a:noFill/>
          <a:ln w="25400" cap="flat" cmpd="sng" algn="ctr">
            <a:solidFill>
              <a:srgbClr val="F2F2F2">
                <a:lumMod val="9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a:t>
            </a:r>
          </a:p>
        </p:txBody>
      </p:sp>
      <p:sp>
        <p:nvSpPr>
          <p:cNvPr id="5" name="Rectangle: Rounded Corners 4">
            <a:extLst>
              <a:ext uri="{FF2B5EF4-FFF2-40B4-BE49-F238E27FC236}">
                <a16:creationId xmlns:a16="http://schemas.microsoft.com/office/drawing/2014/main" id="{98A2E16C-EE3F-A781-BF33-B690328C9B89}"/>
              </a:ext>
            </a:extLst>
          </p:cNvPr>
          <p:cNvSpPr/>
          <p:nvPr/>
        </p:nvSpPr>
        <p:spPr>
          <a:xfrm>
            <a:off x="9991447" y="9165348"/>
            <a:ext cx="2079144" cy="696285"/>
          </a:xfrm>
          <a:prstGeom prst="roundRect">
            <a:avLst/>
          </a:prstGeom>
          <a:noFill/>
          <a:ln w="25400" cap="flat" cmpd="sng" algn="ctr">
            <a:solidFill>
              <a:srgbClr val="F2F2F2">
                <a:lumMod val="9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a:t>
            </a:r>
          </a:p>
        </p:txBody>
      </p:sp>
      <p:sp>
        <p:nvSpPr>
          <p:cNvPr id="6" name="Rectangle: Rounded Corners 5">
            <a:extLst>
              <a:ext uri="{FF2B5EF4-FFF2-40B4-BE49-F238E27FC236}">
                <a16:creationId xmlns:a16="http://schemas.microsoft.com/office/drawing/2014/main" id="{FA422D4A-2D2F-7561-9A0A-195FFC721D57}"/>
              </a:ext>
            </a:extLst>
          </p:cNvPr>
          <p:cNvSpPr/>
          <p:nvPr/>
        </p:nvSpPr>
        <p:spPr>
          <a:xfrm>
            <a:off x="8691552" y="8283941"/>
            <a:ext cx="1206623" cy="690970"/>
          </a:xfrm>
          <a:prstGeom prst="roundRect">
            <a:avLst/>
          </a:prstGeom>
          <a:noFill/>
          <a:ln w="25400" cap="flat" cmpd="sng" algn="ctr">
            <a:solidFill>
              <a:srgbClr val="F2F2F2">
                <a:lumMod val="9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a:t>
            </a:r>
          </a:p>
        </p:txBody>
      </p:sp>
      <p:sp>
        <p:nvSpPr>
          <p:cNvPr id="7" name="Rectangle: Rounded Corners 6">
            <a:extLst>
              <a:ext uri="{FF2B5EF4-FFF2-40B4-BE49-F238E27FC236}">
                <a16:creationId xmlns:a16="http://schemas.microsoft.com/office/drawing/2014/main" id="{672DFE79-1542-E2D5-2CC1-31FD82A9B36B}"/>
              </a:ext>
            </a:extLst>
          </p:cNvPr>
          <p:cNvSpPr/>
          <p:nvPr/>
        </p:nvSpPr>
        <p:spPr>
          <a:xfrm>
            <a:off x="8691552" y="9156015"/>
            <a:ext cx="1206623" cy="692863"/>
          </a:xfrm>
          <a:prstGeom prst="roundRect">
            <a:avLst/>
          </a:prstGeom>
          <a:noFill/>
          <a:ln w="25400" cap="flat" cmpd="sng" algn="ctr">
            <a:solidFill>
              <a:srgbClr val="F2F2F2">
                <a:lumMod val="90000"/>
              </a:srgbClr>
            </a:solidFill>
            <a:prstDash val="solid"/>
          </a:ln>
          <a:effectLst/>
        </p:spPr>
        <p:txBody>
          <a:bodyPr rtlCol="0" anchor="ctr"/>
          <a:lstStyle/>
          <a:p>
            <a:pPr marL="0" marR="0" lvl="0" indent="0"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a:t>
            </a:r>
          </a:p>
        </p:txBody>
      </p:sp>
      <p:sp>
        <p:nvSpPr>
          <p:cNvPr id="8" name="Right Brace 7">
            <a:extLst>
              <a:ext uri="{FF2B5EF4-FFF2-40B4-BE49-F238E27FC236}">
                <a16:creationId xmlns:a16="http://schemas.microsoft.com/office/drawing/2014/main" id="{F22B098C-989D-B1CD-C31D-E79900C42F41}"/>
              </a:ext>
            </a:extLst>
          </p:cNvPr>
          <p:cNvSpPr/>
          <p:nvPr/>
        </p:nvSpPr>
        <p:spPr>
          <a:xfrm rot="10800000">
            <a:off x="8105390" y="8283941"/>
            <a:ext cx="505778" cy="1577692"/>
          </a:xfrm>
          <a:prstGeom prst="rightBrace">
            <a:avLst>
              <a:gd name="adj1" fmla="val 8333"/>
              <a:gd name="adj2" fmla="val 48411"/>
            </a:avLst>
          </a:prstGeom>
          <a:noFill/>
          <a:ln w="28575" cap="flat" cmpd="sng" algn="ctr">
            <a:solidFill>
              <a:srgbClr val="F2F2F2">
                <a:lumMod val="90000"/>
              </a:srgbClr>
            </a:solidFill>
            <a:prstDash val="solid"/>
          </a:ln>
          <a:effectLst/>
        </p:spPr>
        <p:txBody>
          <a:bodyPr rtlCol="0" anchor="ctr"/>
          <a:lstStyle/>
          <a:p>
            <a:pPr marL="0" marR="0" lvl="0" indent="0" algn="ctr" defTabSz="1350020" eaLnBrk="1" fontAlgn="auto" latinLnBrk="0" hangingPunct="1">
              <a:lnSpc>
                <a:spcPct val="100000"/>
              </a:lnSpc>
              <a:spcBef>
                <a:spcPts val="0"/>
              </a:spcBef>
              <a:spcAft>
                <a:spcPts val="0"/>
              </a:spcAft>
              <a:buClrTx/>
              <a:buSzTx/>
              <a:buFontTx/>
              <a:buNone/>
              <a:tabLst/>
              <a:defRPr/>
            </a:pPr>
            <a:endParaRPr kumimoji="0" lang="en-GB" sz="3942" b="0" i="0" u="none" strike="noStrike" kern="0" cap="none" spc="0" normalizeH="0" baseline="0" noProof="0">
              <a:ln>
                <a:noFill/>
              </a:ln>
              <a:effectLst/>
              <a:uLnTx/>
              <a:uFillTx/>
              <a:latin typeface="Segoe UI Light" panose="020B0502040204020203" pitchFamily="34" charset="0"/>
              <a:cs typeface="Segoe UI Light" panose="020B0502040204020203" pitchFamily="34" charset="0"/>
            </a:endParaRPr>
          </a:p>
        </p:txBody>
      </p:sp>
      <p:sp>
        <p:nvSpPr>
          <p:cNvPr id="9" name="Rectangle: Rounded Corners 8">
            <a:extLst>
              <a:ext uri="{FF2B5EF4-FFF2-40B4-BE49-F238E27FC236}">
                <a16:creationId xmlns:a16="http://schemas.microsoft.com/office/drawing/2014/main" id="{0174FB02-E08E-4BD2-693A-44024639E0D3}"/>
              </a:ext>
            </a:extLst>
          </p:cNvPr>
          <p:cNvSpPr/>
          <p:nvPr/>
        </p:nvSpPr>
        <p:spPr>
          <a:xfrm>
            <a:off x="12556945" y="8461131"/>
            <a:ext cx="1399550" cy="410400"/>
          </a:xfrm>
          <a:prstGeom prst="roundRect">
            <a:avLst/>
          </a:prstGeom>
          <a:noFill/>
          <a:ln w="25400" cap="flat" cmpd="sng" algn="ctr">
            <a:solidFill>
              <a:srgbClr val="66BE45">
                <a:lumMod val="60000"/>
                <a:lumOff val="40000"/>
              </a:srgbClr>
            </a:solidFill>
            <a:prstDash val="solid"/>
          </a:ln>
          <a:effectLst/>
        </p:spPr>
        <p:txBody>
          <a:bodyPr rtlCol="0" anchor="ctr"/>
          <a:lstStyle/>
          <a:p>
            <a:pPr defTabSz="1350020"/>
            <a:r>
              <a:rPr lang="en-GB" sz="1772" b="1" kern="0">
                <a:latin typeface="Segoe UI Light" panose="020B0502040204020203" pitchFamily="34" charset="0"/>
                <a:cs typeface="Segoe UI Light" panose="020B0502040204020203" pitchFamily="34" charset="0"/>
              </a:rPr>
              <a:t>Wildlife</a:t>
            </a:r>
          </a:p>
        </p:txBody>
      </p:sp>
      <p:sp>
        <p:nvSpPr>
          <p:cNvPr id="10" name="Rectangle: Rounded Corners 9">
            <a:extLst>
              <a:ext uri="{FF2B5EF4-FFF2-40B4-BE49-F238E27FC236}">
                <a16:creationId xmlns:a16="http://schemas.microsoft.com/office/drawing/2014/main" id="{4326A01A-8B07-09C3-94B1-A4E65EC56963}"/>
              </a:ext>
            </a:extLst>
          </p:cNvPr>
          <p:cNvSpPr/>
          <p:nvPr/>
        </p:nvSpPr>
        <p:spPr>
          <a:xfrm>
            <a:off x="14049765" y="8457709"/>
            <a:ext cx="3517089" cy="410400"/>
          </a:xfrm>
          <a:prstGeom prst="roundRect">
            <a:avLst/>
          </a:prstGeom>
          <a:noFill/>
          <a:ln w="25400" cap="flat" cmpd="sng" algn="ctr">
            <a:solidFill>
              <a:srgbClr val="66BE45">
                <a:lumMod val="60000"/>
                <a:lumOff val="40000"/>
              </a:srgbClr>
            </a:solidFill>
            <a:prstDash val="solid"/>
          </a:ln>
          <a:effectLst/>
        </p:spPr>
        <p:txBody>
          <a:bodyPr rtlCol="0" anchor="ctr"/>
          <a:lstStyle/>
          <a:p>
            <a:pPr defTabSz="1350020"/>
            <a:r>
              <a:rPr lang="en-GB" sz="1772" kern="0">
                <a:latin typeface="Segoe UI Light" panose="020B0502040204020203" pitchFamily="34" charset="0"/>
                <a:cs typeface="Segoe UI Light" panose="020B0502040204020203" pitchFamily="34" charset="0"/>
              </a:rPr>
              <a:t>“Water ensures wildlife survival”</a:t>
            </a:r>
          </a:p>
        </p:txBody>
      </p:sp>
      <p:sp>
        <p:nvSpPr>
          <p:cNvPr id="11" name="Rectangle: Rounded Corners 10">
            <a:extLst>
              <a:ext uri="{FF2B5EF4-FFF2-40B4-BE49-F238E27FC236}">
                <a16:creationId xmlns:a16="http://schemas.microsoft.com/office/drawing/2014/main" id="{16FAB1AA-B564-5F5E-D710-D3A43ABDB11D}"/>
              </a:ext>
            </a:extLst>
          </p:cNvPr>
          <p:cNvSpPr/>
          <p:nvPr/>
        </p:nvSpPr>
        <p:spPr>
          <a:xfrm>
            <a:off x="12556945" y="9011838"/>
            <a:ext cx="1399550" cy="410400"/>
          </a:xfrm>
          <a:prstGeom prst="roundRect">
            <a:avLst/>
          </a:prstGeom>
          <a:noFill/>
          <a:ln w="25400" cap="flat" cmpd="sng" algn="ctr">
            <a:solidFill>
              <a:srgbClr val="66BE45">
                <a:lumMod val="60000"/>
                <a:lumOff val="40000"/>
              </a:srgbClr>
            </a:solidFill>
            <a:prstDash val="solid"/>
          </a:ln>
          <a:effectLst/>
        </p:spPr>
        <p:txBody>
          <a:bodyPr rtlCol="0" anchor="ctr"/>
          <a:lstStyle/>
          <a:p>
            <a:pPr defTabSz="1350020"/>
            <a:r>
              <a:rPr lang="en-GB" sz="1772" b="1" kern="0">
                <a:latin typeface="Segoe UI Light" panose="020B0502040204020203" pitchFamily="34" charset="0"/>
                <a:cs typeface="Segoe UI Light" panose="020B0502040204020203" pitchFamily="34" charset="0"/>
              </a:rPr>
              <a:t>…</a:t>
            </a:r>
          </a:p>
        </p:txBody>
      </p:sp>
      <p:sp>
        <p:nvSpPr>
          <p:cNvPr id="12" name="Rectangle: Rounded Corners 11">
            <a:extLst>
              <a:ext uri="{FF2B5EF4-FFF2-40B4-BE49-F238E27FC236}">
                <a16:creationId xmlns:a16="http://schemas.microsoft.com/office/drawing/2014/main" id="{CE3ADC8B-AC7B-50C2-D665-B1E425045288}"/>
              </a:ext>
            </a:extLst>
          </p:cNvPr>
          <p:cNvSpPr/>
          <p:nvPr/>
        </p:nvSpPr>
        <p:spPr>
          <a:xfrm>
            <a:off x="14049765" y="9008416"/>
            <a:ext cx="3517089" cy="410400"/>
          </a:xfrm>
          <a:prstGeom prst="roundRect">
            <a:avLst/>
          </a:prstGeom>
          <a:noFill/>
          <a:ln w="25400" cap="flat" cmpd="sng" algn="ctr">
            <a:solidFill>
              <a:srgbClr val="66BE45">
                <a:lumMod val="60000"/>
                <a:lumOff val="40000"/>
              </a:srgbClr>
            </a:solidFill>
            <a:prstDash val="solid"/>
          </a:ln>
          <a:effectLst/>
        </p:spPr>
        <p:txBody>
          <a:bodyPr rtlCol="0" anchor="ctr"/>
          <a:lstStyle/>
          <a:p>
            <a:pPr defTabSz="1350020"/>
            <a:r>
              <a:rPr lang="en-GB" sz="1772" kern="0">
                <a:latin typeface="Segoe UI Light" panose="020B0502040204020203" pitchFamily="34" charset="0"/>
                <a:cs typeface="Segoe UI Light" panose="020B0502040204020203" pitchFamily="34" charset="0"/>
              </a:rPr>
              <a:t>“…”</a:t>
            </a:r>
          </a:p>
        </p:txBody>
      </p:sp>
      <p:sp>
        <p:nvSpPr>
          <p:cNvPr id="24" name="Rectangle: Rounded Corners 23">
            <a:extLst>
              <a:ext uri="{FF2B5EF4-FFF2-40B4-BE49-F238E27FC236}">
                <a16:creationId xmlns:a16="http://schemas.microsoft.com/office/drawing/2014/main" id="{13E18D9F-40B8-2D99-E065-4DFA3C53C6E8}"/>
              </a:ext>
            </a:extLst>
          </p:cNvPr>
          <p:cNvSpPr/>
          <p:nvPr/>
        </p:nvSpPr>
        <p:spPr>
          <a:xfrm>
            <a:off x="478221" y="9011838"/>
            <a:ext cx="3517089" cy="409235"/>
          </a:xfrm>
          <a:prstGeom prst="roundRect">
            <a:avLst/>
          </a:prstGeom>
          <a:noFill/>
          <a:ln w="25400" cap="flat" cmpd="sng" algn="ctr">
            <a:solidFill>
              <a:schemeClr val="accent2">
                <a:lumMod val="60000"/>
                <a:lumOff val="40000"/>
              </a:schemeClr>
            </a:solidFill>
            <a:prstDash val="solid"/>
          </a:ln>
          <a:effectLst/>
        </p:spPr>
        <p:txBody>
          <a:bodyPr rtlCol="0" anchor="ctr"/>
          <a:lstStyle/>
          <a:p>
            <a:pPr defTabSz="1350020"/>
            <a:r>
              <a:rPr lang="en-GB" sz="1772" kern="0">
                <a:latin typeface="Segoe UI Light" panose="020B0502040204020203" pitchFamily="34" charset="0"/>
                <a:cs typeface="Segoe UI Light" panose="020B0502040204020203" pitchFamily="34" charset="0"/>
              </a:rPr>
              <a:t>“…”</a:t>
            </a:r>
          </a:p>
        </p:txBody>
      </p:sp>
      <p:sp>
        <p:nvSpPr>
          <p:cNvPr id="25" name="Rectangle: Rounded Corners 24">
            <a:extLst>
              <a:ext uri="{FF2B5EF4-FFF2-40B4-BE49-F238E27FC236}">
                <a16:creationId xmlns:a16="http://schemas.microsoft.com/office/drawing/2014/main" id="{F8B30126-35FF-899F-04FD-98734F02406A}"/>
              </a:ext>
            </a:extLst>
          </p:cNvPr>
          <p:cNvSpPr/>
          <p:nvPr/>
        </p:nvSpPr>
        <p:spPr>
          <a:xfrm>
            <a:off x="4083806" y="9017022"/>
            <a:ext cx="1206623" cy="407224"/>
          </a:xfrm>
          <a:prstGeom prst="roundRect">
            <a:avLst/>
          </a:prstGeom>
          <a:noFill/>
          <a:ln w="25400" cap="flat" cmpd="sng" algn="ctr">
            <a:solidFill>
              <a:schemeClr val="accent2">
                <a:lumMod val="60000"/>
                <a:lumOff val="40000"/>
              </a:schemeClr>
            </a:solidFill>
            <a:prstDash val="solid"/>
          </a:ln>
          <a:effectLst/>
        </p:spPr>
        <p:txBody>
          <a:bodyPr rtlCol="0" anchor="ctr"/>
          <a:lstStyle/>
          <a:p>
            <a:pPr defTabSz="1350020"/>
            <a:r>
              <a:rPr lang="en-GB" sz="1772" b="1" kern="0">
                <a:latin typeface="Segoe UI Light" panose="020B0502040204020203" pitchFamily="34" charset="0"/>
                <a:cs typeface="Segoe UI Light" panose="020B0502040204020203" pitchFamily="34" charset="0"/>
              </a:rPr>
              <a:t>…</a:t>
            </a:r>
          </a:p>
        </p:txBody>
      </p:sp>
    </p:spTree>
    <p:extLst>
      <p:ext uri="{BB962C8B-B14F-4D97-AF65-F5344CB8AC3E}">
        <p14:creationId xmlns:p14="http://schemas.microsoft.com/office/powerpoint/2010/main" val="762717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A1DBFD6-4E13-65EF-B51D-9DFF0952DEF2}"/>
              </a:ext>
            </a:extLst>
          </p:cNvPr>
          <p:cNvGraphicFramePr>
            <a:graphicFrameLocks noChangeAspect="1"/>
          </p:cNvGraphicFramePr>
          <p:nvPr>
            <p:custDataLst>
              <p:tags r:id="rId1"/>
            </p:custDataLst>
            <p:extLst>
              <p:ext uri="{D42A27DB-BD31-4B8C-83A1-F6EECF244321}">
                <p14:modId xmlns:p14="http://schemas.microsoft.com/office/powerpoint/2010/main" val="1533204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Object 5" hidden="1">
                        <a:extLst>
                          <a:ext uri="{FF2B5EF4-FFF2-40B4-BE49-F238E27FC236}">
                            <a16:creationId xmlns:a16="http://schemas.microsoft.com/office/drawing/2014/main" id="{5A1DBFD6-4E13-65EF-B51D-9DFF0952DE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B0685EF2-81A4-CABF-A5BC-82E04787E280}"/>
              </a:ext>
            </a:extLst>
          </p:cNvPr>
          <p:cNvSpPr txBox="1">
            <a:spLocks/>
          </p:cNvSpPr>
          <p:nvPr/>
        </p:nvSpPr>
        <p:spPr>
          <a:xfrm>
            <a:off x="925382" y="1222969"/>
            <a:ext cx="8069600" cy="613494"/>
          </a:xfrm>
          <a:prstGeom prst="rect">
            <a:avLst/>
          </a:prstGeom>
        </p:spPr>
        <p:txBody>
          <a:bodyPr vert="horz" lIns="91440" tIns="45720" rIns="91440" bIns="4572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800" b="1">
                <a:gradFill>
                  <a:gsLst>
                    <a:gs pos="0">
                      <a:srgbClr val="00A0DF"/>
                    </a:gs>
                    <a:gs pos="100000">
                      <a:srgbClr val="00E1D9"/>
                    </a:gs>
                  </a:gsLst>
                  <a:lin ang="4800000" scaled="0"/>
                </a:gradFill>
                <a:latin typeface="Segoe UI Semibold (Headings)"/>
                <a:cs typeface="Segoe UI" panose="020B0502040204020203" pitchFamily="34" charset="0"/>
              </a:rPr>
              <a:t>Clusters of values</a:t>
            </a:r>
          </a:p>
        </p:txBody>
      </p:sp>
      <p:sp>
        <p:nvSpPr>
          <p:cNvPr id="9" name="Rectangle 8">
            <a:extLst>
              <a:ext uri="{FF2B5EF4-FFF2-40B4-BE49-F238E27FC236}">
                <a16:creationId xmlns:a16="http://schemas.microsoft.com/office/drawing/2014/main" id="{3D588E30-0DA7-AF72-9B33-7A818C3FB181}"/>
              </a:ext>
            </a:extLst>
          </p:cNvPr>
          <p:cNvSpPr/>
          <p:nvPr/>
        </p:nvSpPr>
        <p:spPr>
          <a:xfrm>
            <a:off x="925382" y="2052319"/>
            <a:ext cx="8074949" cy="78319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just" defTabSz="1350020">
              <a:defRPr/>
            </a:pPr>
            <a:endParaRPr lang="en-GB" sz="2067">
              <a:solidFill>
                <a:schemeClr val="tx1"/>
              </a:solidFill>
              <a:latin typeface="Segoe UI Light" panose="020B0502040204020203" pitchFamily="34" charset="0"/>
              <a:cs typeface="Segoe UI Light" panose="020B0502040204020203" pitchFamily="34" charset="0"/>
            </a:endParaRPr>
          </a:p>
          <a:p>
            <a:pPr algn="just" defTabSz="1350020">
              <a:defRPr/>
            </a:pPr>
            <a:endParaRPr lang="en-GB" sz="2067">
              <a:solidFill>
                <a:schemeClr val="tx1"/>
              </a:solidFill>
              <a:latin typeface="Segoe UI Light" panose="020B0502040204020203" pitchFamily="34" charset="0"/>
              <a:cs typeface="Segoe UI Light" panose="020B0502040204020203" pitchFamily="34" charset="0"/>
            </a:endParaRPr>
          </a:p>
          <a:p>
            <a:pPr algn="just" defTabSz="1350020">
              <a:defRPr/>
            </a:pPr>
            <a:r>
              <a:rPr lang="en-GB" sz="2067">
                <a:solidFill>
                  <a:schemeClr val="tx1"/>
                </a:solidFill>
                <a:latin typeface="Segoe UI Light" panose="020B0502040204020203" pitchFamily="34" charset="0"/>
                <a:cs typeface="Segoe UI Light" panose="020B0502040204020203" pitchFamily="34" charset="0"/>
              </a:rPr>
              <a:t>People tend to think about </a:t>
            </a:r>
            <a:r>
              <a:rPr lang="en-GB" sz="2067" b="1">
                <a:solidFill>
                  <a:schemeClr val="tx1"/>
                </a:solidFill>
                <a:latin typeface="Segoe UI Light" panose="020B0502040204020203" pitchFamily="34" charset="0"/>
                <a:cs typeface="Segoe UI Light" panose="020B0502040204020203" pitchFamily="34" charset="0"/>
              </a:rPr>
              <a:t>assigned water values </a:t>
            </a:r>
            <a:r>
              <a:rPr lang="en-GB" sz="2067">
                <a:solidFill>
                  <a:schemeClr val="tx1"/>
                </a:solidFill>
                <a:latin typeface="Segoe UI Light" panose="020B0502040204020203" pitchFamily="34" charset="0"/>
                <a:cs typeface="Segoe UI Light" panose="020B0502040204020203" pitchFamily="34" charset="0"/>
              </a:rPr>
              <a:t>in terms of clusters of economic values, environmental values, health values and cultural values – which are also represented in the value map. The distinction between these value clusters may help to </a:t>
            </a:r>
            <a:r>
              <a:rPr lang="en-GB" sz="2067" b="1">
                <a:solidFill>
                  <a:schemeClr val="tx1"/>
                </a:solidFill>
                <a:latin typeface="Segoe UI Light" panose="020B0502040204020203" pitchFamily="34" charset="0"/>
                <a:cs typeface="Segoe UI Light" panose="020B0502040204020203" pitchFamily="34" charset="0"/>
              </a:rPr>
              <a:t>better recognize and understand </a:t>
            </a:r>
            <a:r>
              <a:rPr lang="en-GB" sz="2067">
                <a:solidFill>
                  <a:schemeClr val="tx1"/>
                </a:solidFill>
                <a:latin typeface="Segoe UI Light" panose="020B0502040204020203" pitchFamily="34" charset="0"/>
                <a:cs typeface="Segoe UI Light" panose="020B0502040204020203" pitchFamily="34" charset="0"/>
              </a:rPr>
              <a:t>the variety of values around water. This is important because these values (clusters) </a:t>
            </a:r>
            <a:r>
              <a:rPr lang="en-GB" sz="2067" b="1">
                <a:solidFill>
                  <a:schemeClr val="tx1"/>
                </a:solidFill>
                <a:latin typeface="Segoe UI Light" panose="020B0502040204020203" pitchFamily="34" charset="0"/>
                <a:cs typeface="Segoe UI Light" panose="020B0502040204020203" pitchFamily="34" charset="0"/>
              </a:rPr>
              <a:t>influence how people and organizations make decisions about water</a:t>
            </a:r>
            <a:r>
              <a:rPr lang="en-GB" sz="2067">
                <a:solidFill>
                  <a:schemeClr val="tx1"/>
                </a:solidFill>
                <a:latin typeface="Segoe UI Light" panose="020B0502040204020203" pitchFamily="34" charset="0"/>
                <a:cs typeface="Segoe UI Light" panose="020B0502040204020203" pitchFamily="34" charset="0"/>
              </a:rPr>
              <a:t>.</a:t>
            </a:r>
            <a:endParaRPr lang="en-GB" sz="2067">
              <a:solidFill>
                <a:schemeClr val="tx1"/>
              </a:solidFill>
              <a:highlight>
                <a:srgbClr val="FFFF00"/>
              </a:highlight>
              <a:latin typeface="Segoe UI Light" panose="020B0502040204020203" pitchFamily="34" charset="0"/>
              <a:cs typeface="Segoe UI Light" panose="020B0502040204020203" pitchFamily="34" charset="0"/>
            </a:endParaRPr>
          </a:p>
          <a:p>
            <a:pPr algn="just" defTabSz="1350020">
              <a:defRPr/>
            </a:pPr>
            <a:r>
              <a:rPr lang="en-GB" sz="2067" b="1">
                <a:solidFill>
                  <a:schemeClr val="tx1"/>
                </a:solidFill>
                <a:latin typeface="Segoe UI Light" panose="020B0502040204020203" pitchFamily="34" charset="0"/>
                <a:cs typeface="Segoe UI Light" panose="020B0502040204020203" pitchFamily="34" charset="0"/>
              </a:rPr>
              <a:t>Cultural values</a:t>
            </a:r>
            <a:r>
              <a:rPr lang="en-GB" sz="2067">
                <a:solidFill>
                  <a:schemeClr val="tx1"/>
                </a:solidFill>
                <a:latin typeface="Segoe UI Light" panose="020B0502040204020203" pitchFamily="34" charset="0"/>
                <a:cs typeface="Segoe UI Light" panose="020B0502040204020203" pitchFamily="34" charset="0"/>
              </a:rPr>
              <a:t> are those which can be tied to the importance of water to people in societies and cultures, such as spirituality and recreation. </a:t>
            </a:r>
            <a:r>
              <a:rPr lang="en-GB" sz="2067" b="1">
                <a:solidFill>
                  <a:schemeClr val="tx1"/>
                </a:solidFill>
                <a:latin typeface="Segoe UI Light" panose="020B0502040204020203" pitchFamily="34" charset="0"/>
                <a:cs typeface="Segoe UI Light" panose="020B0502040204020203" pitchFamily="34" charset="0"/>
              </a:rPr>
              <a:t>Economic values </a:t>
            </a:r>
            <a:r>
              <a:rPr lang="en-GB" sz="2067">
                <a:solidFill>
                  <a:schemeClr val="tx1"/>
                </a:solidFill>
                <a:latin typeface="Segoe UI Light" panose="020B0502040204020203" pitchFamily="34" charset="0"/>
                <a:cs typeface="Segoe UI Light" panose="020B0502040204020203" pitchFamily="34" charset="0"/>
              </a:rPr>
              <a:t>represent the value of water as economic good, for instance as input for production. </a:t>
            </a:r>
            <a:r>
              <a:rPr lang="en-GB" sz="2067" b="1">
                <a:solidFill>
                  <a:schemeClr val="tx1"/>
                </a:solidFill>
                <a:latin typeface="Segoe UI Light" panose="020B0502040204020203" pitchFamily="34" charset="0"/>
                <a:cs typeface="Segoe UI Light" panose="020B0502040204020203" pitchFamily="34" charset="0"/>
              </a:rPr>
              <a:t>Environmental values </a:t>
            </a:r>
            <a:r>
              <a:rPr lang="en-GB" sz="2067">
                <a:solidFill>
                  <a:schemeClr val="tx1"/>
                </a:solidFill>
                <a:latin typeface="Segoe UI Light" panose="020B0502040204020203" pitchFamily="34" charset="0"/>
                <a:cs typeface="Segoe UI Light" panose="020B0502040204020203" pitchFamily="34" charset="0"/>
              </a:rPr>
              <a:t>constitute the inherent value water has for nature, including plants, animals and entire ecosystems. </a:t>
            </a:r>
            <a:r>
              <a:rPr lang="en-GB" sz="2067" b="1">
                <a:solidFill>
                  <a:schemeClr val="tx1"/>
                </a:solidFill>
                <a:latin typeface="Segoe UI Light" panose="020B0502040204020203" pitchFamily="34" charset="0"/>
                <a:cs typeface="Segoe UI Light" panose="020B0502040204020203" pitchFamily="34" charset="0"/>
              </a:rPr>
              <a:t>Health values </a:t>
            </a:r>
            <a:r>
              <a:rPr lang="en-GB" sz="2067">
                <a:solidFill>
                  <a:schemeClr val="tx1"/>
                </a:solidFill>
                <a:latin typeface="Segoe UI Light" panose="020B0502040204020203" pitchFamily="34" charset="0"/>
                <a:cs typeface="Segoe UI Light" panose="020B0502040204020203" pitchFamily="34" charset="0"/>
              </a:rPr>
              <a:t>are those which contribute to human health, such as decreasing the spread of disease with hygiene. While grounded in research, the value clusters in this tool may not be exhaustive.</a:t>
            </a:r>
          </a:p>
          <a:p>
            <a:pPr algn="just" defTabSz="1350020">
              <a:defRPr/>
            </a:pPr>
            <a:r>
              <a:rPr lang="en-GB" sz="2067">
                <a:solidFill>
                  <a:schemeClr val="tx1"/>
                </a:solidFill>
                <a:latin typeface="Segoe UI Light" panose="020B0502040204020203" pitchFamily="34" charset="0"/>
                <a:cs typeface="Segoe UI Light" panose="020B0502040204020203" pitchFamily="34" charset="0"/>
              </a:rPr>
              <a:t>Some of the values represented in this value map </a:t>
            </a:r>
            <a:r>
              <a:rPr lang="en-GB" sz="2067" b="1">
                <a:solidFill>
                  <a:schemeClr val="tx1"/>
                </a:solidFill>
                <a:latin typeface="Segoe UI Light" panose="020B0502040204020203" pitchFamily="34" charset="0"/>
                <a:cs typeface="Segoe UI Light" panose="020B0502040204020203" pitchFamily="34" charset="0"/>
              </a:rPr>
              <a:t>may conflict</a:t>
            </a:r>
            <a:r>
              <a:rPr lang="en-GB" sz="2067">
                <a:solidFill>
                  <a:schemeClr val="tx1"/>
                </a:solidFill>
                <a:latin typeface="Segoe UI Light" panose="020B0502040204020203" pitchFamily="34" charset="0"/>
                <a:cs typeface="Segoe UI Light" panose="020B0502040204020203" pitchFamily="34" charset="0"/>
              </a:rPr>
              <a:t> with one another, for instance when water is over-extracted to be used as input for production and it function to support natural ecosystems declines. Some values </a:t>
            </a:r>
            <a:r>
              <a:rPr lang="en-GB" sz="2067" b="1">
                <a:solidFill>
                  <a:schemeClr val="tx1"/>
                </a:solidFill>
                <a:latin typeface="Segoe UI Light" panose="020B0502040204020203" pitchFamily="34" charset="0"/>
                <a:cs typeface="Segoe UI Light" panose="020B0502040204020203" pitchFamily="34" charset="0"/>
              </a:rPr>
              <a:t>may also overlap </a:t>
            </a:r>
            <a:r>
              <a:rPr lang="en-GB" sz="2067">
                <a:solidFill>
                  <a:schemeClr val="tx1"/>
                </a:solidFill>
                <a:latin typeface="Segoe UI Light" panose="020B0502040204020203" pitchFamily="34" charset="0"/>
                <a:cs typeface="Segoe UI Light" panose="020B0502040204020203" pitchFamily="34" charset="0"/>
              </a:rPr>
              <a:t>with each other, for instance when water is used in agriculture it has value as an input for production but also for people’s livelihoods. Usually, people make decisions around water based on </a:t>
            </a:r>
            <a:r>
              <a:rPr lang="en-GB" sz="2067" b="1">
                <a:solidFill>
                  <a:schemeClr val="tx1"/>
                </a:solidFill>
                <a:latin typeface="Segoe UI Light" panose="020B0502040204020203" pitchFamily="34" charset="0"/>
                <a:cs typeface="Segoe UI Light" panose="020B0502040204020203" pitchFamily="34" charset="0"/>
              </a:rPr>
              <a:t>multiple of these values</a:t>
            </a:r>
            <a:r>
              <a:rPr lang="en-GB" sz="2067">
                <a:solidFill>
                  <a:schemeClr val="tx1"/>
                </a:solidFill>
                <a:latin typeface="Segoe UI Light" panose="020B0502040204020203" pitchFamily="34" charset="0"/>
                <a:cs typeface="Segoe UI Light" panose="020B0502040204020203" pitchFamily="34" charset="0"/>
              </a:rPr>
              <a:t>. Certain values or a particular cluster of values may however prevail.</a:t>
            </a:r>
          </a:p>
        </p:txBody>
      </p:sp>
      <p:sp>
        <p:nvSpPr>
          <p:cNvPr id="4" name="Title 1">
            <a:extLst>
              <a:ext uri="{FF2B5EF4-FFF2-40B4-BE49-F238E27FC236}">
                <a16:creationId xmlns:a16="http://schemas.microsoft.com/office/drawing/2014/main" id="{90FCC997-A818-4289-EA78-100F6A351639}"/>
              </a:ext>
            </a:extLst>
          </p:cNvPr>
          <p:cNvSpPr txBox="1">
            <a:spLocks/>
          </p:cNvSpPr>
          <p:nvPr/>
        </p:nvSpPr>
        <p:spPr>
          <a:xfrm>
            <a:off x="9510582" y="1222969"/>
            <a:ext cx="8069600" cy="613494"/>
          </a:xfrm>
          <a:prstGeom prst="rect">
            <a:avLst/>
          </a:prstGeom>
        </p:spPr>
        <p:txBody>
          <a:bodyPr vert="horz" lIns="91440" tIns="45720" rIns="91440" bIns="4572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800" b="1">
                <a:gradFill>
                  <a:gsLst>
                    <a:gs pos="0">
                      <a:srgbClr val="00A0DF"/>
                    </a:gs>
                    <a:gs pos="100000">
                      <a:srgbClr val="00E1D9"/>
                    </a:gs>
                  </a:gsLst>
                  <a:lin ang="4800000" scaled="0"/>
                </a:gradFill>
                <a:latin typeface="Segoe UI Semibold (Headings)"/>
                <a:cs typeface="Segoe UI" panose="020B0502040204020203" pitchFamily="34" charset="0"/>
              </a:rPr>
              <a:t>Levels at which values are held</a:t>
            </a:r>
          </a:p>
        </p:txBody>
      </p:sp>
      <p:sp>
        <p:nvSpPr>
          <p:cNvPr id="10" name="Rectangle 9">
            <a:extLst>
              <a:ext uri="{FF2B5EF4-FFF2-40B4-BE49-F238E27FC236}">
                <a16:creationId xmlns:a16="http://schemas.microsoft.com/office/drawing/2014/main" id="{EBD22DA1-4D2F-A12A-4D85-373840684483}"/>
              </a:ext>
            </a:extLst>
          </p:cNvPr>
          <p:cNvSpPr/>
          <p:nvPr/>
        </p:nvSpPr>
        <p:spPr>
          <a:xfrm>
            <a:off x="9510582" y="2052319"/>
            <a:ext cx="8074949" cy="78319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lvl="5" algn="just" defTabSz="1350020"/>
            <a:r>
              <a:rPr lang="en-GB" sz="2067">
                <a:solidFill>
                  <a:schemeClr val="tx1"/>
                </a:solidFill>
                <a:latin typeface="Segoe UI Light" panose="020B0502040204020203" pitchFamily="34" charset="0"/>
                <a:cs typeface="Segoe UI Light" panose="020B0502040204020203" pitchFamily="34" charset="0"/>
              </a:rPr>
              <a:t>The values people assign to water can be identified on a </a:t>
            </a:r>
            <a:r>
              <a:rPr lang="en-GB" sz="2067" b="1">
                <a:solidFill>
                  <a:schemeClr val="tx1"/>
                </a:solidFill>
                <a:latin typeface="Segoe UI Light" panose="020B0502040204020203" pitchFamily="34" charset="0"/>
                <a:cs typeface="Segoe UI Light" panose="020B0502040204020203" pitchFamily="34" charset="0"/>
              </a:rPr>
              <a:t>personal, organization and structural level</a:t>
            </a:r>
            <a:r>
              <a:rPr lang="en-GB" sz="2067">
                <a:solidFill>
                  <a:schemeClr val="tx1"/>
                </a:solidFill>
                <a:latin typeface="Segoe UI Light" panose="020B0502040204020203" pitchFamily="34" charset="0"/>
                <a:cs typeface="Segoe UI Light" panose="020B0502040204020203" pitchFamily="34" charset="0"/>
              </a:rPr>
              <a:t>. On a personal level, each individual holds certain water values. Within an organization, certain values prevail and influence the decisions made in that organization. The structural level is about the values we collectively </a:t>
            </a:r>
          </a:p>
          <a:p>
            <a:pPr marL="0" lvl="5" algn="just" defTabSz="1350020"/>
            <a:r>
              <a:rPr lang="en-GB" sz="2067">
                <a:solidFill>
                  <a:schemeClr val="tx1"/>
                </a:solidFill>
                <a:latin typeface="Segoe UI Light" panose="020B0502040204020203" pitchFamily="34" charset="0"/>
                <a:cs typeface="Segoe UI Light" panose="020B0502040204020203" pitchFamily="34" charset="0"/>
              </a:rPr>
              <a:t>hold as a society and which are embedded in policies, laws, institutions, and social norms. If a certain set of values prevails on a structural level, we call this the </a:t>
            </a:r>
            <a:r>
              <a:rPr lang="en-GB" sz="2067" b="1">
                <a:solidFill>
                  <a:schemeClr val="tx1"/>
                </a:solidFill>
                <a:latin typeface="Segoe UI Light" panose="020B0502040204020203" pitchFamily="34" charset="0"/>
                <a:cs typeface="Segoe UI Light" panose="020B0502040204020203" pitchFamily="34" charset="0"/>
              </a:rPr>
              <a:t>dominant value paradigm</a:t>
            </a:r>
            <a:r>
              <a:rPr lang="en-GB" sz="2067">
                <a:solidFill>
                  <a:schemeClr val="tx1"/>
                </a:solidFill>
                <a:latin typeface="Segoe UI Light" panose="020B0502040204020203" pitchFamily="34" charset="0"/>
                <a:cs typeface="Segoe UI Light" panose="020B0502040204020203" pitchFamily="34" charset="0"/>
              </a:rPr>
              <a:t>.</a:t>
            </a:r>
          </a:p>
          <a:p>
            <a:pPr algn="just" defTabSz="1350020"/>
            <a:r>
              <a:rPr lang="en-GB" sz="2067">
                <a:solidFill>
                  <a:schemeClr val="tx1"/>
                </a:solidFill>
                <a:latin typeface="Segoe UI Light" panose="020B0502040204020203" pitchFamily="34" charset="0"/>
                <a:cs typeface="Segoe UI Light" panose="020B0502040204020203" pitchFamily="34" charset="0"/>
              </a:rPr>
              <a:t>These </a:t>
            </a:r>
            <a:r>
              <a:rPr lang="en-GB" sz="2067" b="1">
                <a:solidFill>
                  <a:schemeClr val="tx1"/>
                </a:solidFill>
                <a:latin typeface="Segoe UI Light" panose="020B0502040204020203" pitchFamily="34" charset="0"/>
                <a:cs typeface="Segoe UI Light" panose="020B0502040204020203" pitchFamily="34" charset="0"/>
              </a:rPr>
              <a:t>three levels are interrelated</a:t>
            </a:r>
            <a:r>
              <a:rPr lang="en-GB" sz="2067">
                <a:solidFill>
                  <a:schemeClr val="tx1"/>
                </a:solidFill>
                <a:latin typeface="Segoe UI Light" panose="020B0502040204020203" pitchFamily="34" charset="0"/>
                <a:cs typeface="Segoe UI Light" panose="020B0502040204020203" pitchFamily="34" charset="0"/>
              </a:rPr>
              <a:t>. If many people in an organization hold a certain value, there is a higher likelihood of this value becoming embedded in the organization. Actions taken by the people in that organization likely will reflect these values. If many individuals and/or organizations in a certain society hold a particular set of values, then it may become the dominant value paradigm on a structural level. This works the other way around as well. Organizational and individual values may be influenced by the dominant value paradigm. Particularly on an organizational level, adhering to the values which are structurally embedded in society may be beneficial to the organization. Additionally, if certain values prevail in an organization, individuals working at or associated with that organization may adopt some of these values.</a:t>
            </a:r>
          </a:p>
        </p:txBody>
      </p:sp>
      <p:pic>
        <p:nvPicPr>
          <p:cNvPr id="37" name="Picture 36">
            <a:extLst>
              <a:ext uri="{FF2B5EF4-FFF2-40B4-BE49-F238E27FC236}">
                <a16:creationId xmlns:a16="http://schemas.microsoft.com/office/drawing/2014/main" id="{D9B3E094-B17E-B23E-E1BF-C527D5588EBC}"/>
              </a:ext>
            </a:extLst>
          </p:cNvPr>
          <p:cNvPicPr>
            <a:picLocks noChangeAspect="1"/>
          </p:cNvPicPr>
          <p:nvPr/>
        </p:nvPicPr>
        <p:blipFill>
          <a:blip r:embed="rId5"/>
          <a:stretch>
            <a:fillRect/>
          </a:stretch>
        </p:blipFill>
        <p:spPr>
          <a:xfrm>
            <a:off x="9967838" y="2052319"/>
            <a:ext cx="2659589" cy="2455511"/>
          </a:xfrm>
          <a:prstGeom prst="rect">
            <a:avLst/>
          </a:prstGeom>
        </p:spPr>
      </p:pic>
      <p:sp>
        <p:nvSpPr>
          <p:cNvPr id="7" name="Title 1">
            <a:extLst>
              <a:ext uri="{FF2B5EF4-FFF2-40B4-BE49-F238E27FC236}">
                <a16:creationId xmlns:a16="http://schemas.microsoft.com/office/drawing/2014/main" id="{FD3BC102-A1AE-29F4-EB44-5C5F9CAE1F35}"/>
              </a:ext>
            </a:extLst>
          </p:cNvPr>
          <p:cNvSpPr txBox="1">
            <a:spLocks/>
          </p:cNvSpPr>
          <p:nvPr/>
        </p:nvSpPr>
        <p:spPr>
          <a:xfrm>
            <a:off x="460142" y="199629"/>
            <a:ext cx="16302975" cy="1014201"/>
          </a:xfrm>
          <a:prstGeom prst="rect">
            <a:avLst/>
          </a:prstGeom>
        </p:spPr>
        <p:txBody>
          <a:bodyPr anchor="t" anchorCtr="0">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defTabSz="914400"/>
            <a:r>
              <a:rPr lang="en-GB" sz="3600">
                <a:solidFill>
                  <a:srgbClr val="009FDE"/>
                </a:solidFill>
                <a:latin typeface="Segoe UI Semibold (Headings)"/>
              </a:rPr>
              <a:t>Value map: Assigned water values</a:t>
            </a:r>
          </a:p>
        </p:txBody>
      </p:sp>
      <p:sp>
        <p:nvSpPr>
          <p:cNvPr id="2" name="Rectangle: Rounded Corners 1">
            <a:extLst>
              <a:ext uri="{FF2B5EF4-FFF2-40B4-BE49-F238E27FC236}">
                <a16:creationId xmlns:a16="http://schemas.microsoft.com/office/drawing/2014/main" id="{6145CFAF-6E2D-C80F-A38C-427ED36D63A6}"/>
              </a:ext>
            </a:extLst>
          </p:cNvPr>
          <p:cNvSpPr/>
          <p:nvPr/>
        </p:nvSpPr>
        <p:spPr>
          <a:xfrm>
            <a:off x="979664" y="1940159"/>
            <a:ext cx="1742400" cy="690970"/>
          </a:xfrm>
          <a:prstGeom prst="roundRect">
            <a:avLst/>
          </a:prstGeom>
          <a:solidFill>
            <a:srgbClr val="16B0DB">
              <a:lumMod val="60000"/>
              <a:lumOff val="40000"/>
            </a:srgbClr>
          </a:solidFill>
          <a:ln w="25400" cap="flat" cmpd="sng" algn="ctr">
            <a:solidFill>
              <a:srgbClr val="16B0DB">
                <a:lumMod val="60000"/>
                <a:lumOff val="40000"/>
              </a:srgbClr>
            </a:solidFill>
            <a:prstDash val="solid"/>
          </a:ln>
          <a:effectLst/>
        </p:spPr>
        <p:txBody>
          <a:bodyPr rtlCol="0" anchor="ctr"/>
          <a:lstStyle/>
          <a:p>
            <a:pPr marL="0" marR="0" lvl="0" indent="0" algn="ctr"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Cultural values</a:t>
            </a:r>
          </a:p>
        </p:txBody>
      </p:sp>
      <p:sp>
        <p:nvSpPr>
          <p:cNvPr id="3" name="Rectangle: Rounded Corners 2">
            <a:extLst>
              <a:ext uri="{FF2B5EF4-FFF2-40B4-BE49-F238E27FC236}">
                <a16:creationId xmlns:a16="http://schemas.microsoft.com/office/drawing/2014/main" id="{F2A06959-8285-14C0-1303-CC496CBE43DB}"/>
              </a:ext>
            </a:extLst>
          </p:cNvPr>
          <p:cNvSpPr/>
          <p:nvPr/>
        </p:nvSpPr>
        <p:spPr>
          <a:xfrm>
            <a:off x="3041846" y="1938145"/>
            <a:ext cx="1742400" cy="692984"/>
          </a:xfrm>
          <a:prstGeom prst="roundRect">
            <a:avLst/>
          </a:prstGeom>
          <a:solidFill>
            <a:srgbClr val="FFCC00">
              <a:lumMod val="60000"/>
              <a:lumOff val="40000"/>
            </a:srgbClr>
          </a:solidFill>
          <a:ln w="25400" cap="flat" cmpd="sng" algn="ctr">
            <a:solidFill>
              <a:srgbClr val="FFCC00">
                <a:lumMod val="60000"/>
                <a:lumOff val="40000"/>
              </a:srgbClr>
            </a:solidFill>
            <a:prstDash val="solid"/>
          </a:ln>
          <a:effectLst/>
        </p:spPr>
        <p:txBody>
          <a:bodyPr rtlCol="0" anchor="ctr"/>
          <a:lstStyle/>
          <a:p>
            <a:pPr marL="0" marR="0" lvl="0" indent="0" algn="ctr"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Economic values</a:t>
            </a:r>
          </a:p>
        </p:txBody>
      </p:sp>
      <p:sp>
        <p:nvSpPr>
          <p:cNvPr id="5" name="Rectangle: Rounded Corners 4">
            <a:extLst>
              <a:ext uri="{FF2B5EF4-FFF2-40B4-BE49-F238E27FC236}">
                <a16:creationId xmlns:a16="http://schemas.microsoft.com/office/drawing/2014/main" id="{63E681B9-8548-9AC8-6F7E-5A3D3C42A069}"/>
              </a:ext>
            </a:extLst>
          </p:cNvPr>
          <p:cNvSpPr/>
          <p:nvPr/>
        </p:nvSpPr>
        <p:spPr>
          <a:xfrm>
            <a:off x="5104028" y="1938145"/>
            <a:ext cx="1742400" cy="690970"/>
          </a:xfrm>
          <a:prstGeom prst="roundRect">
            <a:avLst/>
          </a:prstGeom>
          <a:solidFill>
            <a:srgbClr val="66BE45">
              <a:lumMod val="60000"/>
              <a:lumOff val="40000"/>
            </a:srgbClr>
          </a:solidFill>
          <a:ln w="25400" cap="flat" cmpd="sng" algn="ctr">
            <a:solidFill>
              <a:srgbClr val="66BE45">
                <a:lumMod val="60000"/>
                <a:lumOff val="40000"/>
              </a:srgbClr>
            </a:solidFill>
            <a:prstDash val="solid"/>
          </a:ln>
          <a:effectLst/>
        </p:spPr>
        <p:txBody>
          <a:bodyPr rtlCol="0" anchor="ctr"/>
          <a:lstStyle/>
          <a:p>
            <a:pPr marL="0" marR="0" lvl="0" indent="0" algn="ctr"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Environmental values</a:t>
            </a:r>
          </a:p>
        </p:txBody>
      </p:sp>
      <p:sp>
        <p:nvSpPr>
          <p:cNvPr id="14" name="Rectangle: Rounded Corners 13">
            <a:extLst>
              <a:ext uri="{FF2B5EF4-FFF2-40B4-BE49-F238E27FC236}">
                <a16:creationId xmlns:a16="http://schemas.microsoft.com/office/drawing/2014/main" id="{F503E200-7EDD-E92E-FD05-7DA5BBCDD044}"/>
              </a:ext>
            </a:extLst>
          </p:cNvPr>
          <p:cNvSpPr/>
          <p:nvPr/>
        </p:nvSpPr>
        <p:spPr>
          <a:xfrm>
            <a:off x="7166211" y="1938145"/>
            <a:ext cx="1742400" cy="690970"/>
          </a:xfrm>
          <a:prstGeom prst="roundRect">
            <a:avLst/>
          </a:prstGeom>
          <a:solidFill>
            <a:schemeClr val="accent2">
              <a:lumMod val="60000"/>
              <a:lumOff val="40000"/>
            </a:schemeClr>
          </a:solidFill>
          <a:ln w="25400" cap="flat" cmpd="sng" algn="ctr">
            <a:solidFill>
              <a:schemeClr val="accent2">
                <a:lumMod val="60000"/>
                <a:lumOff val="40000"/>
              </a:schemeClr>
            </a:solidFill>
            <a:prstDash val="solid"/>
          </a:ln>
          <a:effectLst/>
        </p:spPr>
        <p:txBody>
          <a:bodyPr rtlCol="0" anchor="ctr"/>
          <a:lstStyle/>
          <a:p>
            <a:pPr marL="0" marR="0" lvl="0" indent="0" algn="ctr" defTabSz="1350020" eaLnBrk="1" fontAlgn="auto" latinLnBrk="0" hangingPunct="1">
              <a:lnSpc>
                <a:spcPct val="100000"/>
              </a:lnSpc>
              <a:spcBef>
                <a:spcPts val="0"/>
              </a:spcBef>
              <a:spcAft>
                <a:spcPts val="0"/>
              </a:spcAft>
              <a:buClrTx/>
              <a:buSzTx/>
              <a:buFontTx/>
              <a:buNone/>
              <a:tabLst/>
              <a:defRPr/>
            </a:pPr>
            <a:r>
              <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rPr>
              <a:t>Health</a:t>
            </a:r>
          </a:p>
          <a:p>
            <a:pPr marL="0" marR="0" lvl="0" indent="0" algn="ctr" defTabSz="1350020" eaLnBrk="1" fontAlgn="auto" latinLnBrk="0" hangingPunct="1">
              <a:lnSpc>
                <a:spcPct val="100000"/>
              </a:lnSpc>
              <a:spcBef>
                <a:spcPts val="0"/>
              </a:spcBef>
              <a:spcAft>
                <a:spcPts val="0"/>
              </a:spcAft>
              <a:buClrTx/>
              <a:buSzTx/>
              <a:buFontTx/>
              <a:buNone/>
              <a:tabLst/>
              <a:defRPr/>
            </a:pPr>
            <a:r>
              <a:rPr lang="en-GB" sz="1772" b="1" kern="0">
                <a:latin typeface="Segoe UI Light" panose="020B0502040204020203" pitchFamily="34" charset="0"/>
                <a:cs typeface="Segoe UI Light" panose="020B0502040204020203" pitchFamily="34" charset="0"/>
              </a:rPr>
              <a:t>values</a:t>
            </a:r>
            <a:endParaRPr kumimoji="0" lang="en-GB" sz="1772" b="1" i="0" u="none" strike="noStrike" kern="0" cap="none" spc="0" normalizeH="0" baseline="0" noProof="0">
              <a:ln>
                <a:noFill/>
              </a:ln>
              <a:effectLst/>
              <a:uLnTx/>
              <a:uFillTx/>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8396690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47CA363A-ED4F-3B9B-647E-8354C6A6CD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3" name="Object 12" hidden="1">
                        <a:extLst>
                          <a:ext uri="{FF2B5EF4-FFF2-40B4-BE49-F238E27FC236}">
                            <a16:creationId xmlns:a16="http://schemas.microsoft.com/office/drawing/2014/main" id="{47CA363A-ED4F-3B9B-647E-8354C6A6CD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B0685EF2-81A4-CABF-A5BC-82E04787E280}"/>
              </a:ext>
            </a:extLst>
          </p:cNvPr>
          <p:cNvSpPr txBox="1">
            <a:spLocks/>
          </p:cNvSpPr>
          <p:nvPr/>
        </p:nvSpPr>
        <p:spPr>
          <a:xfrm>
            <a:off x="909340" y="1222969"/>
            <a:ext cx="8828218" cy="613494"/>
          </a:xfrm>
          <a:prstGeom prst="rect">
            <a:avLst/>
          </a:prstGeom>
        </p:spPr>
        <p:txBody>
          <a:bodyPr vert="horz" lIns="91440" tIns="45720" rIns="91440" bIns="4572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800" b="1">
                <a:gradFill>
                  <a:gsLst>
                    <a:gs pos="0">
                      <a:srgbClr val="00A0DF"/>
                    </a:gs>
                    <a:gs pos="100000">
                      <a:srgbClr val="00E1D9"/>
                    </a:gs>
                  </a:gsLst>
                  <a:lin ang="4800000" scaled="0"/>
                </a:gradFill>
                <a:latin typeface="Segoe UI Semibold (Headings)"/>
                <a:cs typeface="Segoe UI" panose="020B0502040204020203" pitchFamily="34" charset="0"/>
              </a:rPr>
              <a:t>Ways to use the value clusters</a:t>
            </a:r>
          </a:p>
        </p:txBody>
      </p:sp>
      <p:sp>
        <p:nvSpPr>
          <p:cNvPr id="9" name="Rectangle 8">
            <a:extLst>
              <a:ext uri="{FF2B5EF4-FFF2-40B4-BE49-F238E27FC236}">
                <a16:creationId xmlns:a16="http://schemas.microsoft.com/office/drawing/2014/main" id="{3D588E30-0DA7-AF72-9B33-7A818C3FB181}"/>
              </a:ext>
            </a:extLst>
          </p:cNvPr>
          <p:cNvSpPr/>
          <p:nvPr/>
        </p:nvSpPr>
        <p:spPr>
          <a:xfrm>
            <a:off x="909340" y="1994263"/>
            <a:ext cx="8828218" cy="78319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just" defTabSz="1350020">
              <a:defRPr/>
            </a:pPr>
            <a:r>
              <a:rPr lang="en-US" sz="2067">
                <a:solidFill>
                  <a:schemeClr val="tx1"/>
                </a:solidFill>
                <a:latin typeface="Segoe UI Light" panose="020B0502040204020203" pitchFamily="34" charset="0"/>
                <a:cs typeface="Segoe UI Light" panose="020B0502040204020203" pitchFamily="34" charset="0"/>
              </a:rPr>
              <a:t>The value maps may be used to read for </a:t>
            </a:r>
            <a:r>
              <a:rPr lang="en-US" sz="2067" b="1">
                <a:solidFill>
                  <a:schemeClr val="tx1"/>
                </a:solidFill>
                <a:latin typeface="Segoe UI Light" panose="020B0502040204020203" pitchFamily="34" charset="0"/>
                <a:cs typeface="Segoe UI Light" panose="020B0502040204020203" pitchFamily="34" charset="0"/>
              </a:rPr>
              <a:t>inspiration</a:t>
            </a:r>
            <a:r>
              <a:rPr lang="en-US" sz="2067">
                <a:solidFill>
                  <a:schemeClr val="tx1"/>
                </a:solidFill>
                <a:latin typeface="Segoe UI Light" panose="020B0502040204020203" pitchFamily="34" charset="0"/>
                <a:cs typeface="Segoe UI Light" panose="020B0502040204020203" pitchFamily="34" charset="0"/>
              </a:rPr>
              <a:t> on the multiple values around water, as a basis for </a:t>
            </a:r>
            <a:r>
              <a:rPr lang="en-US" sz="2067" b="1">
                <a:solidFill>
                  <a:schemeClr val="tx1"/>
                </a:solidFill>
                <a:latin typeface="Segoe UI Light" panose="020B0502040204020203" pitchFamily="34" charset="0"/>
                <a:cs typeface="Segoe UI Light" panose="020B0502040204020203" pitchFamily="34" charset="0"/>
              </a:rPr>
              <a:t>analysis</a:t>
            </a:r>
            <a:r>
              <a:rPr lang="en-US" sz="2067">
                <a:solidFill>
                  <a:schemeClr val="tx1"/>
                </a:solidFill>
                <a:latin typeface="Segoe UI Light" panose="020B0502040204020203" pitchFamily="34" charset="0"/>
                <a:cs typeface="Segoe UI Light" panose="020B0502040204020203" pitchFamily="34" charset="0"/>
              </a:rPr>
              <a:t> to recognize values in a certain context, or as a basis for </a:t>
            </a:r>
            <a:r>
              <a:rPr lang="en-US" sz="2067" b="1">
                <a:solidFill>
                  <a:schemeClr val="tx1"/>
                </a:solidFill>
                <a:latin typeface="Segoe UI Light" panose="020B0502040204020203" pitchFamily="34" charset="0"/>
                <a:cs typeface="Segoe UI Light" panose="020B0502040204020203" pitchFamily="34" charset="0"/>
              </a:rPr>
              <a:t>discussion</a:t>
            </a:r>
            <a:r>
              <a:rPr lang="en-US" sz="2067">
                <a:solidFill>
                  <a:schemeClr val="tx1"/>
                </a:solidFill>
                <a:latin typeface="Segoe UI Light" panose="020B0502040204020203" pitchFamily="34" charset="0"/>
                <a:cs typeface="Segoe UI Light" panose="020B0502040204020203" pitchFamily="34" charset="0"/>
              </a:rPr>
              <a:t> on what values prevail for you and other stakeholders. Such analyses may be conducted, or discussions may be held, in various ways:</a:t>
            </a:r>
          </a:p>
          <a:p>
            <a:pPr marL="342900" indent="-342900" algn="just" defTabSz="1350020">
              <a:buClr>
                <a:srgbClr val="009FDE"/>
              </a:buClr>
              <a:buFont typeface="Arial" panose="020B0604020202020204" pitchFamily="34" charset="0"/>
              <a:buChar char="•"/>
              <a:defRPr/>
            </a:pPr>
            <a:r>
              <a:rPr lang="en-US" sz="2067" b="1">
                <a:solidFill>
                  <a:schemeClr val="tx1"/>
                </a:solidFill>
                <a:latin typeface="Segoe UI Light" panose="020B0502040204020203" pitchFamily="34" charset="0"/>
                <a:cs typeface="Segoe UI Light" panose="020B0502040204020203" pitchFamily="34" charset="0"/>
              </a:rPr>
              <a:t>Personal values</a:t>
            </a:r>
            <a:r>
              <a:rPr lang="en-US" sz="2067">
                <a:solidFill>
                  <a:schemeClr val="tx1"/>
                </a:solidFill>
                <a:latin typeface="Segoe UI Light" panose="020B0502040204020203" pitchFamily="34" charset="0"/>
                <a:cs typeface="Segoe UI Light" panose="020B0502040204020203" pitchFamily="34" charset="0"/>
              </a:rPr>
              <a:t>: Think about or discuss which values you and other stakeholders hold towards water on an individual level.</a:t>
            </a:r>
          </a:p>
          <a:p>
            <a:pPr marL="342900" indent="-342900" algn="just" defTabSz="1350020">
              <a:buClr>
                <a:srgbClr val="009FDE"/>
              </a:buClr>
              <a:buFont typeface="Arial" panose="020B0604020202020204" pitchFamily="34" charset="0"/>
              <a:buChar char="•"/>
              <a:defRPr/>
            </a:pPr>
            <a:r>
              <a:rPr lang="en-US" sz="2067" b="1">
                <a:solidFill>
                  <a:schemeClr val="tx1"/>
                </a:solidFill>
                <a:latin typeface="Segoe UI Light" panose="020B0502040204020203" pitchFamily="34" charset="0"/>
                <a:cs typeface="Segoe UI Light" panose="020B0502040204020203" pitchFamily="34" charset="0"/>
              </a:rPr>
              <a:t>Organizational values</a:t>
            </a:r>
            <a:r>
              <a:rPr lang="en-US" sz="2067">
                <a:solidFill>
                  <a:schemeClr val="tx1"/>
                </a:solidFill>
                <a:latin typeface="Segoe UI Light" panose="020B0502040204020203" pitchFamily="34" charset="0"/>
                <a:cs typeface="Segoe UI Light" panose="020B0502040204020203" pitchFamily="34" charset="0"/>
              </a:rPr>
              <a:t>: Think about or discuss which values your organization and other organizations hold towards water.</a:t>
            </a:r>
          </a:p>
          <a:p>
            <a:pPr marL="342900" indent="-342900" algn="just" defTabSz="1350020">
              <a:buClr>
                <a:srgbClr val="009FDE"/>
              </a:buClr>
              <a:buFont typeface="Arial" panose="020B0604020202020204" pitchFamily="34" charset="0"/>
              <a:buChar char="•"/>
              <a:defRPr/>
            </a:pPr>
            <a:r>
              <a:rPr lang="en-US" sz="2067" b="1">
                <a:solidFill>
                  <a:schemeClr val="tx1"/>
                </a:solidFill>
                <a:latin typeface="Segoe UI Light" panose="020B0502040204020203" pitchFamily="34" charset="0"/>
                <a:cs typeface="Segoe UI Light" panose="020B0502040204020203" pitchFamily="34" charset="0"/>
              </a:rPr>
              <a:t>Structural values</a:t>
            </a:r>
            <a:r>
              <a:rPr lang="en-US" sz="2067">
                <a:solidFill>
                  <a:schemeClr val="tx1"/>
                </a:solidFill>
                <a:latin typeface="Segoe UI Light" panose="020B0502040204020203" pitchFamily="34" charset="0"/>
                <a:cs typeface="Segoe UI Light" panose="020B0502040204020203" pitchFamily="34" charset="0"/>
              </a:rPr>
              <a:t>: Think about or discuss which values prevail on a structural level – or what the dominant value paradigm is. </a:t>
            </a:r>
          </a:p>
          <a:p>
            <a:pPr marL="342900" indent="-342900" algn="just" defTabSz="1350020">
              <a:buClr>
                <a:srgbClr val="009FDE"/>
              </a:buClr>
              <a:buFont typeface="Arial" panose="020B0604020202020204" pitchFamily="34" charset="0"/>
              <a:buChar char="•"/>
              <a:defRPr/>
            </a:pPr>
            <a:r>
              <a:rPr lang="en-US" sz="2067" b="1">
                <a:solidFill>
                  <a:schemeClr val="tx1"/>
                </a:solidFill>
                <a:latin typeface="Segoe UI Light" panose="020B0502040204020203" pitchFamily="34" charset="0"/>
                <a:cs typeface="Segoe UI Light" panose="020B0502040204020203" pitchFamily="34" charset="0"/>
              </a:rPr>
              <a:t>Internal discussion</a:t>
            </a:r>
            <a:r>
              <a:rPr lang="en-US" sz="2067">
                <a:solidFill>
                  <a:schemeClr val="tx1"/>
                </a:solidFill>
                <a:latin typeface="Segoe UI Light" panose="020B0502040204020203" pitchFamily="34" charset="0"/>
                <a:cs typeface="Segoe UI Light" panose="020B0502040204020203" pitchFamily="34" charset="0"/>
              </a:rPr>
              <a:t>: Have a discussion about personal, organizational and/or structural values with stakeholders within your own organization.</a:t>
            </a:r>
          </a:p>
          <a:p>
            <a:pPr marL="342900" indent="-342900" algn="just" defTabSz="1350020">
              <a:buClr>
                <a:srgbClr val="009FDE"/>
              </a:buClr>
              <a:buFont typeface="Arial" panose="020B0604020202020204" pitchFamily="34" charset="0"/>
              <a:buChar char="•"/>
              <a:defRPr/>
            </a:pPr>
            <a:r>
              <a:rPr lang="en-US" sz="2067" b="1">
                <a:solidFill>
                  <a:schemeClr val="tx1"/>
                </a:solidFill>
                <a:latin typeface="Segoe UI Light" panose="020B0502040204020203" pitchFamily="34" charset="0"/>
                <a:cs typeface="Segoe UI Light" panose="020B0502040204020203" pitchFamily="34" charset="0"/>
              </a:rPr>
              <a:t>External discussion</a:t>
            </a:r>
            <a:r>
              <a:rPr lang="en-US" sz="2067">
                <a:solidFill>
                  <a:schemeClr val="tx1"/>
                </a:solidFill>
                <a:latin typeface="Segoe UI Light" panose="020B0502040204020203" pitchFamily="34" charset="0"/>
                <a:cs typeface="Segoe UI Light" panose="020B0502040204020203" pitchFamily="34" charset="0"/>
              </a:rPr>
              <a:t>: Have a discussion about personal, organizational and/or structural values with stakeholders from other organizations in a shared water system.</a:t>
            </a:r>
          </a:p>
          <a:p>
            <a:pPr algn="just" defTabSz="1350020">
              <a:defRPr/>
            </a:pPr>
            <a:endParaRPr lang="en-US" sz="2067">
              <a:solidFill>
                <a:schemeClr val="tx1"/>
              </a:solidFill>
              <a:latin typeface="Segoe UI Light" panose="020B0502040204020203" pitchFamily="34" charset="0"/>
              <a:cs typeface="Segoe UI Light" panose="020B0502040204020203" pitchFamily="34" charset="0"/>
            </a:endParaRPr>
          </a:p>
          <a:p>
            <a:pPr algn="just" defTabSz="1350020">
              <a:defRPr/>
            </a:pPr>
            <a:r>
              <a:rPr lang="en-US" sz="2067">
                <a:solidFill>
                  <a:schemeClr val="tx1"/>
                </a:solidFill>
                <a:latin typeface="Segoe UI Light" panose="020B0502040204020203" pitchFamily="34" charset="0"/>
                <a:cs typeface="Segoe UI Light" panose="020B0502040204020203" pitchFamily="34" charset="0"/>
              </a:rPr>
              <a:t>These ways of talking about values can also be </a:t>
            </a:r>
            <a:r>
              <a:rPr lang="en-US" sz="2067" b="1">
                <a:solidFill>
                  <a:schemeClr val="tx1"/>
                </a:solidFill>
                <a:latin typeface="Segoe UI Light" panose="020B0502040204020203" pitchFamily="34" charset="0"/>
                <a:cs typeface="Segoe UI Light" panose="020B0502040204020203" pitchFamily="34" charset="0"/>
              </a:rPr>
              <a:t>combined</a:t>
            </a:r>
            <a:r>
              <a:rPr lang="en-US" sz="2067">
                <a:solidFill>
                  <a:schemeClr val="tx1"/>
                </a:solidFill>
                <a:latin typeface="Segoe UI Light" panose="020B0502040204020203" pitchFamily="34" charset="0"/>
                <a:cs typeface="Segoe UI Light" panose="020B0502040204020203" pitchFamily="34" charset="0"/>
              </a:rPr>
              <a:t>. For instance, you may want to have a conversation about your and others’ personal values towards water and how they relate to the organizational values which your organizations hold.</a:t>
            </a:r>
          </a:p>
          <a:p>
            <a:pPr algn="just" defTabSz="1350020">
              <a:defRPr/>
            </a:pPr>
            <a:r>
              <a:rPr lang="en-US" sz="2067">
                <a:solidFill>
                  <a:schemeClr val="tx1"/>
                </a:solidFill>
                <a:latin typeface="Segoe UI Light" panose="020B0502040204020203" pitchFamily="34" charset="0"/>
                <a:cs typeface="Segoe UI Light" panose="020B0502040204020203" pitchFamily="34" charset="0"/>
              </a:rPr>
              <a:t>Discussions on values can be held in </a:t>
            </a:r>
            <a:r>
              <a:rPr lang="en-US" sz="2067" b="1">
                <a:solidFill>
                  <a:schemeClr val="tx1"/>
                </a:solidFill>
                <a:latin typeface="Segoe UI Light" panose="020B0502040204020203" pitchFamily="34" charset="0"/>
                <a:cs typeface="Segoe UI Light" panose="020B0502040204020203" pitchFamily="34" charset="0"/>
              </a:rPr>
              <a:t>various settings</a:t>
            </a:r>
            <a:r>
              <a:rPr lang="en-US" sz="2067">
                <a:solidFill>
                  <a:schemeClr val="tx1"/>
                </a:solidFill>
                <a:latin typeface="Segoe UI Light" panose="020B0502040204020203" pitchFamily="34" charset="0"/>
                <a:cs typeface="Segoe UI Light" panose="020B0502040204020203" pitchFamily="34" charset="0"/>
              </a:rPr>
              <a:t>, such as an open conversation or a workshop. We recommend to start with an open question or empty values map, to give room to stakeholders to think about their own values. After doing this, the value map can be used for inspiration.</a:t>
            </a:r>
            <a:endParaRPr lang="en-GB" sz="2067">
              <a:solidFill>
                <a:schemeClr val="tx1"/>
              </a:solidFill>
              <a:latin typeface="Segoe UI Light" panose="020B0502040204020203" pitchFamily="34" charset="0"/>
              <a:cs typeface="Segoe UI Light" panose="020B0502040204020203" pitchFamily="34" charset="0"/>
            </a:endParaRPr>
          </a:p>
        </p:txBody>
      </p:sp>
      <p:sp>
        <p:nvSpPr>
          <p:cNvPr id="4" name="Title 1">
            <a:extLst>
              <a:ext uri="{FF2B5EF4-FFF2-40B4-BE49-F238E27FC236}">
                <a16:creationId xmlns:a16="http://schemas.microsoft.com/office/drawing/2014/main" id="{90FCC997-A818-4289-EA78-100F6A351639}"/>
              </a:ext>
            </a:extLst>
          </p:cNvPr>
          <p:cNvSpPr txBox="1">
            <a:spLocks/>
          </p:cNvSpPr>
          <p:nvPr/>
        </p:nvSpPr>
        <p:spPr>
          <a:xfrm>
            <a:off x="9978530" y="1222969"/>
            <a:ext cx="7617693" cy="613494"/>
          </a:xfrm>
          <a:prstGeom prst="rect">
            <a:avLst/>
          </a:prstGeom>
        </p:spPr>
        <p:txBody>
          <a:bodyPr vert="horz" lIns="91440" tIns="45720" rIns="91440" bIns="4572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800" b="1">
                <a:gradFill>
                  <a:gsLst>
                    <a:gs pos="0">
                      <a:srgbClr val="00A0DF"/>
                    </a:gs>
                    <a:gs pos="100000">
                      <a:srgbClr val="00E1D9"/>
                    </a:gs>
                  </a:gsLst>
                  <a:lin ang="4800000" scaled="0"/>
                </a:gradFill>
                <a:latin typeface="Segoe UI Semibold (Headings)"/>
                <a:cs typeface="Segoe UI" panose="020B0502040204020203" pitchFamily="34" charset="0"/>
              </a:rPr>
              <a:t>To learn more</a:t>
            </a:r>
          </a:p>
        </p:txBody>
      </p:sp>
      <p:sp>
        <p:nvSpPr>
          <p:cNvPr id="10" name="Rectangle 9">
            <a:extLst>
              <a:ext uri="{FF2B5EF4-FFF2-40B4-BE49-F238E27FC236}">
                <a16:creationId xmlns:a16="http://schemas.microsoft.com/office/drawing/2014/main" id="{EBD22DA1-4D2F-A12A-4D85-373840684483}"/>
              </a:ext>
            </a:extLst>
          </p:cNvPr>
          <p:cNvSpPr/>
          <p:nvPr/>
        </p:nvSpPr>
        <p:spPr>
          <a:xfrm>
            <a:off x="9983880" y="1994263"/>
            <a:ext cx="7617693" cy="3077687"/>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marL="0" lvl="5" algn="just" defTabSz="1350020"/>
            <a:r>
              <a:rPr lang="en-GB" sz="2067">
                <a:solidFill>
                  <a:schemeClr val="tx1"/>
                </a:solidFill>
                <a:latin typeface="Segoe UI Light" panose="020B0502040204020203" pitchFamily="34" charset="0"/>
                <a:cs typeface="Segoe UI Light" panose="020B0502040204020203" pitchFamily="34" charset="0"/>
              </a:rPr>
              <a:t>If you are interested in incorporating a values perspective into decision-making processes around water or seek facilitation for a conversation or workshop on the values of water, please contact the Valuing Water Initiative team at </a:t>
            </a:r>
            <a:r>
              <a:rPr lang="en-GB" sz="2067">
                <a:solidFill>
                  <a:schemeClr val="tx1"/>
                </a:solidFill>
                <a:latin typeface="Segoe UI Light" panose="020B0502040204020203" pitchFamily="34" charset="0"/>
                <a:cs typeface="Segoe UI Light" panose="020B0502040204020203" pitchFamily="34" charset="0"/>
                <a:hlinkClick r:id="rId5"/>
              </a:rPr>
              <a:t>vwi@rvo.nl</a:t>
            </a:r>
            <a:r>
              <a:rPr lang="en-GB" sz="2067">
                <a:solidFill>
                  <a:schemeClr val="tx1"/>
                </a:solidFill>
                <a:latin typeface="Segoe UI Light" panose="020B0502040204020203" pitchFamily="34" charset="0"/>
                <a:cs typeface="Segoe UI Light" panose="020B0502040204020203" pitchFamily="34" charset="0"/>
              </a:rPr>
              <a:t> </a:t>
            </a:r>
          </a:p>
        </p:txBody>
      </p:sp>
      <p:sp>
        <p:nvSpPr>
          <p:cNvPr id="14" name="Title 1">
            <a:extLst>
              <a:ext uri="{FF2B5EF4-FFF2-40B4-BE49-F238E27FC236}">
                <a16:creationId xmlns:a16="http://schemas.microsoft.com/office/drawing/2014/main" id="{BBAA2DF4-9048-C1FF-D82F-A72FB6C4389C}"/>
              </a:ext>
            </a:extLst>
          </p:cNvPr>
          <p:cNvSpPr txBox="1">
            <a:spLocks/>
          </p:cNvSpPr>
          <p:nvPr/>
        </p:nvSpPr>
        <p:spPr>
          <a:xfrm>
            <a:off x="460142" y="199629"/>
            <a:ext cx="16302975" cy="1014201"/>
          </a:xfrm>
          <a:prstGeom prst="rect">
            <a:avLst/>
          </a:prstGeom>
        </p:spPr>
        <p:txBody>
          <a:bodyPr anchor="t" anchorCtr="0">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defTabSz="914400"/>
            <a:r>
              <a:rPr lang="en-GB" sz="3600">
                <a:solidFill>
                  <a:srgbClr val="009FDE"/>
                </a:solidFill>
                <a:latin typeface="Segoe UI Semibold (Headings)"/>
              </a:rPr>
              <a:t>Value map: Assigned water values</a:t>
            </a:r>
          </a:p>
        </p:txBody>
      </p:sp>
      <p:sp>
        <p:nvSpPr>
          <p:cNvPr id="2" name="Title 1">
            <a:extLst>
              <a:ext uri="{FF2B5EF4-FFF2-40B4-BE49-F238E27FC236}">
                <a16:creationId xmlns:a16="http://schemas.microsoft.com/office/drawing/2014/main" id="{9AB15A8B-538E-6454-8184-F48DCAC469C8}"/>
              </a:ext>
            </a:extLst>
          </p:cNvPr>
          <p:cNvSpPr txBox="1">
            <a:spLocks/>
          </p:cNvSpPr>
          <p:nvPr/>
        </p:nvSpPr>
        <p:spPr>
          <a:xfrm>
            <a:off x="9978530" y="3706608"/>
            <a:ext cx="7617693" cy="613494"/>
          </a:xfrm>
          <a:prstGeom prst="rect">
            <a:avLst/>
          </a:prstGeom>
        </p:spPr>
        <p:txBody>
          <a:bodyPr vert="horz" lIns="91440" tIns="45720" rIns="91440" bIns="45720" rtlCol="0" anchor="ctr">
            <a:normAutofit/>
          </a:bodyPr>
          <a:lstStyle>
            <a:lvl1pPr algn="l" defTabSz="1350020" rtl="0" eaLnBrk="1" latinLnBrk="0" hangingPunct="1">
              <a:lnSpc>
                <a:spcPct val="90000"/>
              </a:lnSpc>
              <a:spcBef>
                <a:spcPct val="0"/>
              </a:spcBef>
              <a:buNone/>
              <a:defRPr sz="6496" kern="1200">
                <a:solidFill>
                  <a:schemeClr val="tx1"/>
                </a:solidFill>
                <a:latin typeface="+mj-lt"/>
                <a:ea typeface="+mj-ea"/>
                <a:cs typeface="+mj-cs"/>
              </a:defRPr>
            </a:lvl1pPr>
          </a:lstStyle>
          <a:p>
            <a:pPr>
              <a:lnSpc>
                <a:spcPct val="110000"/>
              </a:lnSpc>
            </a:pPr>
            <a:r>
              <a:rPr lang="en-GB" sz="2800" b="1" dirty="0">
                <a:gradFill>
                  <a:gsLst>
                    <a:gs pos="0">
                      <a:srgbClr val="00A0DF"/>
                    </a:gs>
                    <a:gs pos="100000">
                      <a:srgbClr val="00E1D9"/>
                    </a:gs>
                  </a:gsLst>
                  <a:lin ang="4800000" scaled="0"/>
                </a:gradFill>
                <a:latin typeface="Segoe UI Semibold (Headings)"/>
                <a:cs typeface="Segoe UI" panose="020B0502040204020203" pitchFamily="34" charset="0"/>
              </a:rPr>
              <a:t>Final notes</a:t>
            </a:r>
          </a:p>
        </p:txBody>
      </p:sp>
      <p:sp>
        <p:nvSpPr>
          <p:cNvPr id="11" name="Rectangle 10">
            <a:extLst>
              <a:ext uri="{FF2B5EF4-FFF2-40B4-BE49-F238E27FC236}">
                <a16:creationId xmlns:a16="http://schemas.microsoft.com/office/drawing/2014/main" id="{372FA2D2-AB37-B5F5-402E-16FA83987D96}"/>
              </a:ext>
            </a:extLst>
          </p:cNvPr>
          <p:cNvSpPr/>
          <p:nvPr/>
        </p:nvSpPr>
        <p:spPr>
          <a:xfrm>
            <a:off x="9983880" y="4535958"/>
            <a:ext cx="7617693" cy="336663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marL="0" lvl="5" algn="just" defTabSz="1350020"/>
            <a:r>
              <a:rPr lang="en-GB" sz="2067">
                <a:solidFill>
                  <a:schemeClr val="tx1"/>
                </a:solidFill>
                <a:latin typeface="Segoe UI Light" panose="020B0502040204020203" pitchFamily="34" charset="0"/>
                <a:cs typeface="Segoe UI Light" panose="020B0502040204020203" pitchFamily="34" charset="0"/>
              </a:rPr>
              <a:t>This value map and value clusters are based on the results of the </a:t>
            </a:r>
            <a:r>
              <a:rPr lang="en-GB" sz="2067">
                <a:solidFill>
                  <a:schemeClr val="tx1"/>
                </a:solidFill>
                <a:latin typeface="Segoe UI Light" panose="020B0502040204020203" pitchFamily="34" charset="0"/>
                <a:cs typeface="Segoe UI Light" panose="020B0502040204020203" pitchFamily="34" charset="0"/>
                <a:hlinkClick r:id="rId6"/>
              </a:rPr>
              <a:t>Global Valuing Water Survey</a:t>
            </a:r>
            <a:r>
              <a:rPr lang="en-GB" sz="2067">
                <a:solidFill>
                  <a:schemeClr val="tx1"/>
                </a:solidFill>
                <a:latin typeface="Segoe UI Light" panose="020B0502040204020203" pitchFamily="34" charset="0"/>
                <a:cs typeface="Segoe UI Light" panose="020B0502040204020203" pitchFamily="34" charset="0"/>
              </a:rPr>
              <a:t>. If you want to contribute to academic research on the multiple values of water, we kindly ask you to fill in this survey.</a:t>
            </a:r>
          </a:p>
          <a:p>
            <a:pPr marL="0" lvl="5" algn="just" defTabSz="1350020"/>
            <a:endParaRPr lang="en-GB" sz="2067">
              <a:solidFill>
                <a:schemeClr val="tx1"/>
              </a:solidFill>
              <a:latin typeface="Segoe UI Light" panose="020B0502040204020203" pitchFamily="34" charset="0"/>
              <a:cs typeface="Segoe UI Light" panose="020B0502040204020203" pitchFamily="34" charset="0"/>
            </a:endParaRPr>
          </a:p>
          <a:p>
            <a:pPr marL="0" lvl="5" algn="just" defTabSz="1350020"/>
            <a:r>
              <a:rPr lang="en-GB" sz="2067">
                <a:solidFill>
                  <a:schemeClr val="tx1"/>
                </a:solidFill>
                <a:latin typeface="Segoe UI Light" panose="020B0502040204020203" pitchFamily="34" charset="0"/>
                <a:cs typeface="Segoe UI Light" panose="020B0502040204020203" pitchFamily="34" charset="0"/>
              </a:rPr>
              <a:t>The values and clusters represented in this value map are meant to inspire you to think about the multitude of values which influence decision-making, but in no way is it meant to represent an exhaustive overview of values or prescriptive categorization. You or other stakeholders may have different views on the values of water.</a:t>
            </a:r>
          </a:p>
        </p:txBody>
      </p:sp>
      <p:sp>
        <p:nvSpPr>
          <p:cNvPr id="16" name="Rectangle 15">
            <a:extLst>
              <a:ext uri="{FF2B5EF4-FFF2-40B4-BE49-F238E27FC236}">
                <a16:creationId xmlns:a16="http://schemas.microsoft.com/office/drawing/2014/main" id="{2FC198D6-7962-D38E-41E0-9D640F8665D5}"/>
              </a:ext>
            </a:extLst>
          </p:cNvPr>
          <p:cNvSpPr/>
          <p:nvPr/>
        </p:nvSpPr>
        <p:spPr>
          <a:xfrm>
            <a:off x="925382" y="9614942"/>
            <a:ext cx="16596310" cy="408667"/>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ctr" defTabSz="1993170"/>
            <a:r>
              <a:rPr lang="en-GB" sz="1800" i="1">
                <a:solidFill>
                  <a:schemeClr val="bg1">
                    <a:lumMod val="50000"/>
                  </a:schemeClr>
                </a:solidFill>
                <a:latin typeface="Segoe UI Light" panose="020B0502040204020203" pitchFamily="34" charset="0"/>
                <a:cs typeface="Segoe UI Light" panose="020B0502040204020203" pitchFamily="34" charset="0"/>
              </a:rPr>
              <a:t>Values map by the Valuing Water Initiative – Created by NewForesight</a:t>
            </a:r>
          </a:p>
        </p:txBody>
      </p:sp>
    </p:spTree>
    <p:extLst>
      <p:ext uri="{BB962C8B-B14F-4D97-AF65-F5344CB8AC3E}">
        <p14:creationId xmlns:p14="http://schemas.microsoft.com/office/powerpoint/2010/main" val="1890761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2b5b377-5ded-413d-b4d5-c72a836bb93c" xsi:nil="true"/>
    <lcf76f155ced4ddcb4097134ff3c332f xmlns="934bf06a-38ee-49b6-9420-ee8f688d1e24">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6A618E2C5A5C946923B711EFBA4932E" ma:contentTypeVersion="16" ma:contentTypeDescription="Create a new document." ma:contentTypeScope="" ma:versionID="894c5004b660727b1f69d75b4fea25c7">
  <xsd:schema xmlns:xsd="http://www.w3.org/2001/XMLSchema" xmlns:xs="http://www.w3.org/2001/XMLSchema" xmlns:p="http://schemas.microsoft.com/office/2006/metadata/properties" xmlns:ns2="82b5b377-5ded-413d-b4d5-c72a836bb93c" xmlns:ns3="934bf06a-38ee-49b6-9420-ee8f688d1e24" targetNamespace="http://schemas.microsoft.com/office/2006/metadata/properties" ma:root="true" ma:fieldsID="456db0457cfbb3c63a38372f03954455" ns2:_="" ns3:_="">
    <xsd:import namespace="82b5b377-5ded-413d-b4d5-c72a836bb93c"/>
    <xsd:import namespace="934bf06a-38ee-49b6-9420-ee8f688d1e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b5b377-5ded-413d-b4d5-c72a836bb93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5426440-f91a-46a8-9472-8286bc823be5}" ma:internalName="TaxCatchAll" ma:showField="CatchAllData" ma:web="82b5b377-5ded-413d-b4d5-c72a836bb93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34bf06a-38ee-49b6-9420-ee8f688d1e2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e2eb92b-2f80-4394-b32e-820d5ac9118a"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3185CA7-FB98-49BE-A815-791C7E8EBE3E}">
  <ds:schemaRefs>
    <ds:schemaRef ds:uri="82b5b377-5ded-413d-b4d5-c72a836bb93c"/>
    <ds:schemaRef ds:uri="934bf06a-38ee-49b6-9420-ee8f688d1e24"/>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932713F4-4A23-4D08-9A95-A29DDEEBC0D4}"/>
</file>

<file path=customXml/itemProps3.xml><?xml version="1.0" encoding="utf-8"?>
<ds:datastoreItem xmlns:ds="http://schemas.openxmlformats.org/officeDocument/2006/customXml" ds:itemID="{CBD93E4D-F585-4A13-BB00-D98DB155F93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683</Words>
  <Application>Microsoft Office PowerPoint</Application>
  <PresentationFormat>Custom</PresentationFormat>
  <Paragraphs>101</Paragraphs>
  <Slides>4</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3" baseType="lpstr">
      <vt:lpstr>Arial</vt:lpstr>
      <vt:lpstr>Calibri</vt:lpstr>
      <vt:lpstr>Calibri Light</vt:lpstr>
      <vt:lpstr>Segoe UI Light</vt:lpstr>
      <vt:lpstr>Segoe UI Semibold</vt:lpstr>
      <vt:lpstr>Segoe UI Semibold (Headings)</vt:lpstr>
      <vt:lpstr>System Font Regular</vt:lpstr>
      <vt:lpstr>1_Office Theme</vt:lpstr>
      <vt:lpstr>think-cell Slide</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lue map: Assigned water values</dc:title>
  <dc:creator>Pauline Smout</dc:creator>
  <cp:lastModifiedBy>Pauline Smout</cp:lastModifiedBy>
  <cp:revision>1</cp:revision>
  <dcterms:created xsi:type="dcterms:W3CDTF">2022-12-12T12:14:18Z</dcterms:created>
  <dcterms:modified xsi:type="dcterms:W3CDTF">2023-03-03T16:1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A618E2C5A5C946923B711EFBA4932E</vt:lpwstr>
  </property>
  <property fmtid="{D5CDD505-2E9C-101B-9397-08002B2CF9AE}" pid="3" name="MediaServiceImageTags">
    <vt:lpwstr/>
  </property>
</Properties>
</file>